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charts/chart1.xml" ContentType="application/vnd.openxmlformats-officedocument.drawingml.chart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9" r:id="rId5"/>
  </p:sldMasterIdLst>
  <p:notesMasterIdLst>
    <p:notesMasterId r:id="rId11"/>
  </p:notesMasterIdLst>
  <p:handoutMasterIdLst>
    <p:handoutMasterId r:id="rId12"/>
  </p:handoutMasterIdLst>
  <p:sldIdLst>
    <p:sldId id="479" r:id="rId6"/>
    <p:sldId id="478" r:id="rId7"/>
    <p:sldId id="477" r:id="rId8"/>
    <p:sldId id="476" r:id="rId9"/>
    <p:sldId id="480" r:id="rId10"/>
  </p:sldIdLst>
  <p:sldSz cx="9906000" cy="6858000" type="A4"/>
  <p:notesSz cx="6797675" cy="9872663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32" userDrawn="1">
          <p15:clr>
            <a:srgbClr val="A4A3A4"/>
          </p15:clr>
        </p15:guide>
        <p15:guide id="3" pos="13" userDrawn="1">
          <p15:clr>
            <a:srgbClr val="A4A3A4"/>
          </p15:clr>
        </p15:guide>
        <p15:guide id="4" pos="3460" userDrawn="1">
          <p15:clr>
            <a:srgbClr val="A4A3A4"/>
          </p15:clr>
        </p15:guide>
        <p15:guide id="5" orient="horz" pos="1480" userDrawn="1">
          <p15:clr>
            <a:srgbClr val="A4A3A4"/>
          </p15:clr>
        </p15:guide>
        <p15:guide id="6" orient="horz" pos="663" userDrawn="1">
          <p15:clr>
            <a:srgbClr val="A4A3A4"/>
          </p15:clr>
        </p15:guide>
        <p15:guide id="9" pos="2802" userDrawn="1">
          <p15:clr>
            <a:srgbClr val="A4A3A4"/>
          </p15:clr>
        </p15:guide>
        <p15:guide id="10" orient="horz" pos="323" userDrawn="1">
          <p15:clr>
            <a:srgbClr val="A4A3A4"/>
          </p15:clr>
        </p15:guide>
        <p15:guide id="11" orient="horz" pos="2364" userDrawn="1">
          <p15:clr>
            <a:srgbClr val="A4A3A4"/>
          </p15:clr>
        </p15:guide>
        <p15:guide id="12" pos="240" userDrawn="1">
          <p15:clr>
            <a:srgbClr val="A4A3A4"/>
          </p15:clr>
        </p15:guide>
        <p15:guide id="13" pos="3415" userDrawn="1">
          <p15:clr>
            <a:srgbClr val="A4A3A4"/>
          </p15:clr>
        </p15:guide>
        <p15:guide id="14" pos="3347" userDrawn="1">
          <p15:clr>
            <a:srgbClr val="A4A3A4"/>
          </p15:clr>
        </p15:guide>
        <p15:guide id="16" orient="horz" pos="7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gnacio Morenes Posadas - Beka Finance" initials="IMPBF" lastIdx="2" clrIdx="0">
    <p:extLst>
      <p:ext uri="{19B8F6BF-5375-455C-9EA6-DF929625EA0E}">
        <p15:presenceInfo xmlns:p15="http://schemas.microsoft.com/office/powerpoint/2012/main" userId="S::ignacio.morenes@bekafinance.com::ea6628b7-2b35-43d7-b872-c7b96241019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5F5F5F"/>
    <a:srgbClr val="C9C9C9"/>
    <a:srgbClr val="666666"/>
    <a:srgbClr val="BC8F00"/>
    <a:srgbClr val="FFC000"/>
    <a:srgbClr val="C00000"/>
    <a:srgbClr val="808080"/>
    <a:srgbClr val="DBDBDB"/>
    <a:srgbClr val="E01F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E59101-6820-4584-9CD9-2ED30E8CC042}" v="167" dt="2023-08-03T12:35:16.746"/>
    <p1510:client id="{71C2EE00-30E3-4903-A9B5-65E7B4C948AD}" v="9" dt="2023-08-04T10:08:12.01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964" autoAdjust="0"/>
    <p:restoredTop sz="94660"/>
  </p:normalViewPr>
  <p:slideViewPr>
    <p:cSldViewPr snapToGrid="0">
      <p:cViewPr varScale="1">
        <p:scale>
          <a:sx n="97" d="100"/>
          <a:sy n="97" d="100"/>
        </p:scale>
        <p:origin x="1432" y="21"/>
      </p:cViewPr>
      <p:guideLst>
        <p:guide orient="horz" pos="2432"/>
        <p:guide pos="13"/>
        <p:guide pos="3460"/>
        <p:guide orient="horz" pos="1480"/>
        <p:guide orient="horz" pos="663"/>
        <p:guide pos="2802"/>
        <p:guide orient="horz" pos="323"/>
        <p:guide orient="horz" pos="2364"/>
        <p:guide pos="240"/>
        <p:guide pos="3415"/>
        <p:guide pos="3347"/>
        <p:guide orient="horz" pos="70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cisco Ortiz - Beka Finance" userId="17fc0672-9b28-497e-9f7f-4c3b7561c768" providerId="ADAL" clId="{F869CAE0-ED6C-486E-84DE-E43AC438F705}"/>
    <pc:docChg chg="undo custSel addSld modSld">
      <pc:chgData name="Francisco Ortiz - Beka Finance" userId="17fc0672-9b28-497e-9f7f-4c3b7561c768" providerId="ADAL" clId="{F869CAE0-ED6C-486E-84DE-E43AC438F705}" dt="2023-06-21T15:36:02.983" v="31" actId="1076"/>
      <pc:docMkLst>
        <pc:docMk/>
      </pc:docMkLst>
      <pc:sldChg chg="modSp mod">
        <pc:chgData name="Francisco Ortiz - Beka Finance" userId="17fc0672-9b28-497e-9f7f-4c3b7561c768" providerId="ADAL" clId="{F869CAE0-ED6C-486E-84DE-E43AC438F705}" dt="2023-06-09T08:10:00.899" v="0" actId="1076"/>
        <pc:sldMkLst>
          <pc:docMk/>
          <pc:sldMk cId="2542065065" sldId="477"/>
        </pc:sldMkLst>
        <pc:spChg chg="mod">
          <ac:chgData name="Francisco Ortiz - Beka Finance" userId="17fc0672-9b28-497e-9f7f-4c3b7561c768" providerId="ADAL" clId="{F869CAE0-ED6C-486E-84DE-E43AC438F705}" dt="2023-06-09T08:10:00.899" v="0" actId="1076"/>
          <ac:spMkLst>
            <pc:docMk/>
            <pc:sldMk cId="2542065065" sldId="477"/>
            <ac:spMk id="218" creationId="{2789745E-7F6D-4955-82D5-4570BD67B8D6}"/>
          </ac:spMkLst>
        </pc:spChg>
      </pc:sldChg>
      <pc:sldChg chg="modSp mod">
        <pc:chgData name="Francisco Ortiz - Beka Finance" userId="17fc0672-9b28-497e-9f7f-4c3b7561c768" providerId="ADAL" clId="{F869CAE0-ED6C-486E-84DE-E43AC438F705}" dt="2023-06-21T15:36:02.983" v="31" actId="1076"/>
        <pc:sldMkLst>
          <pc:docMk/>
          <pc:sldMk cId="3246831304" sldId="478"/>
        </pc:sldMkLst>
        <pc:spChg chg="mod">
          <ac:chgData name="Francisco Ortiz - Beka Finance" userId="17fc0672-9b28-497e-9f7f-4c3b7561c768" providerId="ADAL" clId="{F869CAE0-ED6C-486E-84DE-E43AC438F705}" dt="2023-06-21T15:36:02.983" v="31" actId="1076"/>
          <ac:spMkLst>
            <pc:docMk/>
            <pc:sldMk cId="3246831304" sldId="478"/>
            <ac:spMk id="552" creationId="{006D8B5C-A3A9-CA55-53BE-0C7507389F01}"/>
          </ac:spMkLst>
        </pc:spChg>
        <pc:graphicFrameChg chg="mod">
          <ac:chgData name="Francisco Ortiz - Beka Finance" userId="17fc0672-9b28-497e-9f7f-4c3b7561c768" providerId="ADAL" clId="{F869CAE0-ED6C-486E-84DE-E43AC438F705}" dt="2023-06-21T15:36:01.969" v="30"/>
          <ac:graphicFrameMkLst>
            <pc:docMk/>
            <pc:sldMk cId="3246831304" sldId="478"/>
            <ac:graphicFrameMk id="8" creationId="{73EEF690-4461-7090-E974-9646A81AAA46}"/>
          </ac:graphicFrameMkLst>
        </pc:graphicFrameChg>
      </pc:sldChg>
      <pc:sldChg chg="modSp">
        <pc:chgData name="Francisco Ortiz - Beka Finance" userId="17fc0672-9b28-497e-9f7f-4c3b7561c768" providerId="ADAL" clId="{F869CAE0-ED6C-486E-84DE-E43AC438F705}" dt="2023-06-15T13:34:14.917" v="1" actId="1076"/>
        <pc:sldMkLst>
          <pc:docMk/>
          <pc:sldMk cId="3036790981" sldId="479"/>
        </pc:sldMkLst>
        <pc:picChg chg="mod">
          <ac:chgData name="Francisco Ortiz - Beka Finance" userId="17fc0672-9b28-497e-9f7f-4c3b7561c768" providerId="ADAL" clId="{F869CAE0-ED6C-486E-84DE-E43AC438F705}" dt="2023-06-15T13:34:14.917" v="1" actId="1076"/>
          <ac:picMkLst>
            <pc:docMk/>
            <pc:sldMk cId="3036790981" sldId="479"/>
            <ac:picMk id="2050" creationId="{80C6F4E6-FA92-029B-682F-16597128052E}"/>
          </ac:picMkLst>
        </pc:picChg>
      </pc:sldChg>
      <pc:sldChg chg="new">
        <pc:chgData name="Francisco Ortiz - Beka Finance" userId="17fc0672-9b28-497e-9f7f-4c3b7561c768" providerId="ADAL" clId="{F869CAE0-ED6C-486E-84DE-E43AC438F705}" dt="2023-06-21T15:17:39.453" v="2" actId="680"/>
        <pc:sldMkLst>
          <pc:docMk/>
          <pc:sldMk cId="3603527916" sldId="481"/>
        </pc:sldMkLst>
      </pc:sldChg>
      <pc:sldChg chg="addSp delSp modSp new mod">
        <pc:chgData name="Francisco Ortiz - Beka Finance" userId="17fc0672-9b28-497e-9f7f-4c3b7561c768" providerId="ADAL" clId="{F869CAE0-ED6C-486E-84DE-E43AC438F705}" dt="2023-06-21T15:26:11.521" v="29" actId="1036"/>
        <pc:sldMkLst>
          <pc:docMk/>
          <pc:sldMk cId="3272679647" sldId="482"/>
        </pc:sldMkLst>
        <pc:graphicFrameChg chg="add del mod">
          <ac:chgData name="Francisco Ortiz - Beka Finance" userId="17fc0672-9b28-497e-9f7f-4c3b7561c768" providerId="ADAL" clId="{F869CAE0-ED6C-486E-84DE-E43AC438F705}" dt="2023-06-21T15:18:14.166" v="20"/>
          <ac:graphicFrameMkLst>
            <pc:docMk/>
            <pc:sldMk cId="3272679647" sldId="482"/>
            <ac:graphicFrameMk id="5" creationId="{22C5A156-850A-FE00-3E83-4EF4E9BCF13D}"/>
          </ac:graphicFrameMkLst>
        </pc:graphicFrameChg>
        <pc:picChg chg="add del mod">
          <ac:chgData name="Francisco Ortiz - Beka Finance" userId="17fc0672-9b28-497e-9f7f-4c3b7561c768" providerId="ADAL" clId="{F869CAE0-ED6C-486E-84DE-E43AC438F705}" dt="2023-06-21T15:22:18.206" v="25" actId="478"/>
          <ac:picMkLst>
            <pc:docMk/>
            <pc:sldMk cId="3272679647" sldId="482"/>
            <ac:picMk id="4" creationId="{F3254566-AEE8-0933-8B47-0157AAC45CAA}"/>
          </ac:picMkLst>
        </pc:picChg>
        <pc:picChg chg="add mod">
          <ac:chgData name="Francisco Ortiz - Beka Finance" userId="17fc0672-9b28-497e-9f7f-4c3b7561c768" providerId="ADAL" clId="{F869CAE0-ED6C-486E-84DE-E43AC438F705}" dt="2023-06-21T15:26:11.521" v="29" actId="1036"/>
          <ac:picMkLst>
            <pc:docMk/>
            <pc:sldMk cId="3272679647" sldId="482"/>
            <ac:picMk id="7" creationId="{F13D82D4-3EC3-334D-CC54-F072A80C1FB9}"/>
          </ac:picMkLst>
        </pc:picChg>
      </pc:sldChg>
    </pc:docChg>
  </pc:docChgLst>
  <pc:docChgLst>
    <pc:chgData name="Francisco Ortiz - Beka Finance" userId="17fc0672-9b28-497e-9f7f-4c3b7561c768" providerId="ADAL" clId="{71C2EE00-30E3-4903-A9B5-65E7B4C948AD}"/>
    <pc:docChg chg="custSel modSld">
      <pc:chgData name="Francisco Ortiz - Beka Finance" userId="17fc0672-9b28-497e-9f7f-4c3b7561c768" providerId="ADAL" clId="{71C2EE00-30E3-4903-A9B5-65E7B4C948AD}" dt="2023-08-04T10:19:37.154" v="88" actId="1037"/>
      <pc:docMkLst>
        <pc:docMk/>
      </pc:docMkLst>
      <pc:sldChg chg="addSp delSp modSp mod">
        <pc:chgData name="Francisco Ortiz - Beka Finance" userId="17fc0672-9b28-497e-9f7f-4c3b7561c768" providerId="ADAL" clId="{71C2EE00-30E3-4903-A9B5-65E7B4C948AD}" dt="2023-08-04T10:19:00.096" v="69" actId="14100"/>
        <pc:sldMkLst>
          <pc:docMk/>
          <pc:sldMk cId="793129248" sldId="476"/>
        </pc:sldMkLst>
        <pc:spChg chg="add mod">
          <ac:chgData name="Francisco Ortiz - Beka Finance" userId="17fc0672-9b28-497e-9f7f-4c3b7561c768" providerId="ADAL" clId="{71C2EE00-30E3-4903-A9B5-65E7B4C948AD}" dt="2023-08-04T10:18:44.404" v="62" actId="1035"/>
          <ac:spMkLst>
            <pc:docMk/>
            <pc:sldMk cId="793129248" sldId="476"/>
            <ac:spMk id="3" creationId="{2B916B0A-64EF-C9F3-FFB5-17042B8C3789}"/>
          </ac:spMkLst>
        </pc:spChg>
        <pc:spChg chg="add mod">
          <ac:chgData name="Francisco Ortiz - Beka Finance" userId="17fc0672-9b28-497e-9f7f-4c3b7561c768" providerId="ADAL" clId="{71C2EE00-30E3-4903-A9B5-65E7B4C948AD}" dt="2023-08-04T10:08:05.013" v="19" actId="20577"/>
          <ac:spMkLst>
            <pc:docMk/>
            <pc:sldMk cId="793129248" sldId="476"/>
            <ac:spMk id="5" creationId="{8E2F1CD9-256D-DDA4-EED6-DD2558CCEEAE}"/>
          </ac:spMkLst>
        </pc:spChg>
        <pc:spChg chg="del">
          <ac:chgData name="Francisco Ortiz - Beka Finance" userId="17fc0672-9b28-497e-9f7f-4c3b7561c768" providerId="ADAL" clId="{71C2EE00-30E3-4903-A9B5-65E7B4C948AD}" dt="2023-08-04T10:08:07.336" v="20" actId="478"/>
          <ac:spMkLst>
            <pc:docMk/>
            <pc:sldMk cId="793129248" sldId="476"/>
            <ac:spMk id="569" creationId="{8D73C412-4869-9F55-244E-0BA1036931BB}"/>
          </ac:spMkLst>
        </pc:spChg>
        <pc:spChg chg="del">
          <ac:chgData name="Francisco Ortiz - Beka Finance" userId="17fc0672-9b28-497e-9f7f-4c3b7561c768" providerId="ADAL" clId="{71C2EE00-30E3-4903-A9B5-65E7B4C948AD}" dt="2023-08-04T10:06:29.633" v="12" actId="478"/>
          <ac:spMkLst>
            <pc:docMk/>
            <pc:sldMk cId="793129248" sldId="476"/>
            <ac:spMk id="881" creationId="{BA762C78-3D8E-A082-6C95-EC65FADE0EF6}"/>
          </ac:spMkLst>
        </pc:spChg>
        <pc:picChg chg="del">
          <ac:chgData name="Francisco Ortiz - Beka Finance" userId="17fc0672-9b28-497e-9f7f-4c3b7561c768" providerId="ADAL" clId="{71C2EE00-30E3-4903-A9B5-65E7B4C948AD}" dt="2023-08-04T09:49:24.705" v="4" actId="478"/>
          <ac:picMkLst>
            <pc:docMk/>
            <pc:sldMk cId="793129248" sldId="476"/>
            <ac:picMk id="3074" creationId="{FD49CE83-22F9-F835-CD96-EAA6BC39E0B7}"/>
          </ac:picMkLst>
        </pc:picChg>
        <pc:cxnChg chg="add mod">
          <ac:chgData name="Francisco Ortiz - Beka Finance" userId="17fc0672-9b28-497e-9f7f-4c3b7561c768" providerId="ADAL" clId="{71C2EE00-30E3-4903-A9B5-65E7B4C948AD}" dt="2023-08-04T10:18:56.733" v="68" actId="14100"/>
          <ac:cxnSpMkLst>
            <pc:docMk/>
            <pc:sldMk cId="793129248" sldId="476"/>
            <ac:cxnSpMk id="4" creationId="{2845528A-79B4-A8F7-3E9E-3A62A2EA3114}"/>
          </ac:cxnSpMkLst>
        </pc:cxnChg>
        <pc:cxnChg chg="add mod">
          <ac:chgData name="Francisco Ortiz - Beka Finance" userId="17fc0672-9b28-497e-9f7f-4c3b7561c768" providerId="ADAL" clId="{71C2EE00-30E3-4903-A9B5-65E7B4C948AD}" dt="2023-08-04T10:19:00.096" v="69" actId="14100"/>
          <ac:cxnSpMkLst>
            <pc:docMk/>
            <pc:sldMk cId="793129248" sldId="476"/>
            <ac:cxnSpMk id="6" creationId="{A557DE03-0AAB-C9BC-4421-A7F12496C994}"/>
          </ac:cxnSpMkLst>
        </pc:cxnChg>
        <pc:cxnChg chg="del">
          <ac:chgData name="Francisco Ortiz - Beka Finance" userId="17fc0672-9b28-497e-9f7f-4c3b7561c768" providerId="ADAL" clId="{71C2EE00-30E3-4903-A9B5-65E7B4C948AD}" dt="2023-08-04T10:08:14.253" v="22" actId="478"/>
          <ac:cxnSpMkLst>
            <pc:docMk/>
            <pc:sldMk cId="793129248" sldId="476"/>
            <ac:cxnSpMk id="570" creationId="{39091595-695B-B28E-F50C-5388602D8331}"/>
          </ac:cxnSpMkLst>
        </pc:cxnChg>
        <pc:cxnChg chg="del">
          <ac:chgData name="Francisco Ortiz - Beka Finance" userId="17fc0672-9b28-497e-9f7f-4c3b7561c768" providerId="ADAL" clId="{71C2EE00-30E3-4903-A9B5-65E7B4C948AD}" dt="2023-08-04T10:06:30.920" v="13" actId="478"/>
          <ac:cxnSpMkLst>
            <pc:docMk/>
            <pc:sldMk cId="793129248" sldId="476"/>
            <ac:cxnSpMk id="882" creationId="{BAF396B4-6509-313C-533C-75C7528ACE6E}"/>
          </ac:cxnSpMkLst>
        </pc:cxnChg>
      </pc:sldChg>
      <pc:sldChg chg="delSp modSp mod">
        <pc:chgData name="Francisco Ortiz - Beka Finance" userId="17fc0672-9b28-497e-9f7f-4c3b7561c768" providerId="ADAL" clId="{71C2EE00-30E3-4903-A9B5-65E7B4C948AD}" dt="2023-08-04T10:18:28.803" v="58" actId="14100"/>
        <pc:sldMkLst>
          <pc:docMk/>
          <pc:sldMk cId="2542065065" sldId="477"/>
        </pc:sldMkLst>
        <pc:spChg chg="mod">
          <ac:chgData name="Francisco Ortiz - Beka Finance" userId="17fc0672-9b28-497e-9f7f-4c3b7561c768" providerId="ADAL" clId="{71C2EE00-30E3-4903-A9B5-65E7B4C948AD}" dt="2023-08-04T10:17:38.024" v="41" actId="1036"/>
          <ac:spMkLst>
            <pc:docMk/>
            <pc:sldMk cId="2542065065" sldId="477"/>
            <ac:spMk id="221" creationId="{93D04750-1D86-0DDD-F952-D1179A90D3F7}"/>
          </ac:spMkLst>
        </pc:spChg>
        <pc:spChg chg="mod">
          <ac:chgData name="Francisco Ortiz - Beka Finance" userId="17fc0672-9b28-497e-9f7f-4c3b7561c768" providerId="ADAL" clId="{71C2EE00-30E3-4903-A9B5-65E7B4C948AD}" dt="2023-08-04T10:17:32.720" v="36" actId="1036"/>
          <ac:spMkLst>
            <pc:docMk/>
            <pc:sldMk cId="2542065065" sldId="477"/>
            <ac:spMk id="441" creationId="{FD227573-BBE4-BC7B-AADA-8B51F4F6DF70}"/>
          </ac:spMkLst>
        </pc:spChg>
        <pc:picChg chg="del">
          <ac:chgData name="Francisco Ortiz - Beka Finance" userId="17fc0672-9b28-497e-9f7f-4c3b7561c768" providerId="ADAL" clId="{71C2EE00-30E3-4903-A9B5-65E7B4C948AD}" dt="2023-08-03T15:38:42.009" v="0" actId="478"/>
          <ac:picMkLst>
            <pc:docMk/>
            <pc:sldMk cId="2542065065" sldId="477"/>
            <ac:picMk id="2052" creationId="{D0CB89D4-FE07-8F90-8DE6-CB9B87C1E26A}"/>
          </ac:picMkLst>
        </pc:picChg>
        <pc:cxnChg chg="mod">
          <ac:chgData name="Francisco Ortiz - Beka Finance" userId="17fc0672-9b28-497e-9f7f-4c3b7561c768" providerId="ADAL" clId="{71C2EE00-30E3-4903-A9B5-65E7B4C948AD}" dt="2023-08-04T10:18:21.089" v="57" actId="14100"/>
          <ac:cxnSpMkLst>
            <pc:docMk/>
            <pc:sldMk cId="2542065065" sldId="477"/>
            <ac:cxnSpMk id="6" creationId="{3DA78DA5-A911-C44F-4AEC-D3A260B3DDE4}"/>
          </ac:cxnSpMkLst>
        </pc:cxnChg>
        <pc:cxnChg chg="mod">
          <ac:chgData name="Francisco Ortiz - Beka Finance" userId="17fc0672-9b28-497e-9f7f-4c3b7561c768" providerId="ADAL" clId="{71C2EE00-30E3-4903-A9B5-65E7B4C948AD}" dt="2023-08-04T10:17:56.043" v="53" actId="14100"/>
          <ac:cxnSpMkLst>
            <pc:docMk/>
            <pc:sldMk cId="2542065065" sldId="477"/>
            <ac:cxnSpMk id="7" creationId="{35F2AF70-5A94-875A-7B25-36BC5041747D}"/>
          </ac:cxnSpMkLst>
        </pc:cxnChg>
        <pc:cxnChg chg="mod">
          <ac:chgData name="Francisco Ortiz - Beka Finance" userId="17fc0672-9b28-497e-9f7f-4c3b7561c768" providerId="ADAL" clId="{71C2EE00-30E3-4903-A9B5-65E7B4C948AD}" dt="2023-08-04T10:17:48.497" v="51" actId="14100"/>
          <ac:cxnSpMkLst>
            <pc:docMk/>
            <pc:sldMk cId="2542065065" sldId="477"/>
            <ac:cxnSpMk id="21" creationId="{CE0279FC-8458-21D2-D375-0F630F7A5C07}"/>
          </ac:cxnSpMkLst>
        </pc:cxnChg>
        <pc:cxnChg chg="mod">
          <ac:chgData name="Francisco Ortiz - Beka Finance" userId="17fc0672-9b28-497e-9f7f-4c3b7561c768" providerId="ADAL" clId="{71C2EE00-30E3-4903-A9B5-65E7B4C948AD}" dt="2023-08-04T10:18:28.803" v="58" actId="14100"/>
          <ac:cxnSpMkLst>
            <pc:docMk/>
            <pc:sldMk cId="2542065065" sldId="477"/>
            <ac:cxnSpMk id="442" creationId="{09A73C24-57D5-BA3C-7459-F65BAB6A13D6}"/>
          </ac:cxnSpMkLst>
        </pc:cxnChg>
      </pc:sldChg>
      <pc:sldChg chg="delSp modSp mod">
        <pc:chgData name="Francisco Ortiz - Beka Finance" userId="17fc0672-9b28-497e-9f7f-4c3b7561c768" providerId="ADAL" clId="{71C2EE00-30E3-4903-A9B5-65E7B4C948AD}" dt="2023-08-04T10:19:37.154" v="88" actId="1037"/>
        <pc:sldMkLst>
          <pc:docMk/>
          <pc:sldMk cId="3246831304" sldId="478"/>
        </pc:sldMkLst>
        <pc:spChg chg="mod">
          <ac:chgData name="Francisco Ortiz - Beka Finance" userId="17fc0672-9b28-497e-9f7f-4c3b7561c768" providerId="ADAL" clId="{71C2EE00-30E3-4903-A9B5-65E7B4C948AD}" dt="2023-08-04T10:19:37.154" v="88" actId="1037"/>
          <ac:spMkLst>
            <pc:docMk/>
            <pc:sldMk cId="3246831304" sldId="478"/>
            <ac:spMk id="939" creationId="{B43E40AF-20F8-2637-2C44-C0E3D46E5717}"/>
          </ac:spMkLst>
        </pc:spChg>
        <pc:picChg chg="del">
          <ac:chgData name="Francisco Ortiz - Beka Finance" userId="17fc0672-9b28-497e-9f7f-4c3b7561c768" providerId="ADAL" clId="{71C2EE00-30E3-4903-A9B5-65E7B4C948AD}" dt="2023-08-04T09:49:20.685" v="1" actId="478"/>
          <ac:picMkLst>
            <pc:docMk/>
            <pc:sldMk cId="3246831304" sldId="478"/>
            <ac:picMk id="1032" creationId="{198BCD25-5D2E-C48F-E55D-FDEC76A3C0BA}"/>
          </ac:picMkLst>
        </pc:picChg>
        <pc:picChg chg="del">
          <ac:chgData name="Francisco Ortiz - Beka Finance" userId="17fc0672-9b28-497e-9f7f-4c3b7561c768" providerId="ADAL" clId="{71C2EE00-30E3-4903-A9B5-65E7B4C948AD}" dt="2023-08-04T09:49:21.475" v="2" actId="478"/>
          <ac:picMkLst>
            <pc:docMk/>
            <pc:sldMk cId="3246831304" sldId="478"/>
            <ac:picMk id="1034" creationId="{71DE8380-6F27-EF85-57AE-7F9E1E40E907}"/>
          </ac:picMkLst>
        </pc:picChg>
        <pc:picChg chg="del">
          <ac:chgData name="Francisco Ortiz - Beka Finance" userId="17fc0672-9b28-497e-9f7f-4c3b7561c768" providerId="ADAL" clId="{71C2EE00-30E3-4903-A9B5-65E7B4C948AD}" dt="2023-08-04T09:49:22.445" v="3" actId="478"/>
          <ac:picMkLst>
            <pc:docMk/>
            <pc:sldMk cId="3246831304" sldId="478"/>
            <ac:picMk id="2066" creationId="{1610D5D4-0E62-AAC2-3AAE-43A3705EFEC7}"/>
          </ac:picMkLst>
        </pc:picChg>
        <pc:cxnChg chg="del mod">
          <ac:chgData name="Francisco Ortiz - Beka Finance" userId="17fc0672-9b28-497e-9f7f-4c3b7561c768" providerId="ADAL" clId="{71C2EE00-30E3-4903-A9B5-65E7B4C948AD}" dt="2023-08-04T09:50:26.857" v="6" actId="478"/>
          <ac:cxnSpMkLst>
            <pc:docMk/>
            <pc:sldMk cId="3246831304" sldId="478"/>
            <ac:cxnSpMk id="4" creationId="{0E321CE4-7406-469A-D229-6C1C357D1292}"/>
          </ac:cxnSpMkLst>
        </pc:cxnChg>
        <pc:cxnChg chg="del">
          <ac:chgData name="Francisco Ortiz - Beka Finance" userId="17fc0672-9b28-497e-9f7f-4c3b7561c768" providerId="ADAL" clId="{71C2EE00-30E3-4903-A9B5-65E7B4C948AD}" dt="2023-08-04T09:50:23.505" v="5" actId="478"/>
          <ac:cxnSpMkLst>
            <pc:docMk/>
            <pc:sldMk cId="3246831304" sldId="478"/>
            <ac:cxnSpMk id="5" creationId="{DE485CDA-A82C-9C69-6E05-61D4F3D36748}"/>
          </ac:cxnSpMkLst>
        </pc:cxnChg>
        <pc:cxnChg chg="mod">
          <ac:chgData name="Francisco Ortiz - Beka Finance" userId="17fc0672-9b28-497e-9f7f-4c3b7561c768" providerId="ADAL" clId="{71C2EE00-30E3-4903-A9B5-65E7B4C948AD}" dt="2023-08-04T10:16:36.678" v="28" actId="1035"/>
          <ac:cxnSpMkLst>
            <pc:docMk/>
            <pc:sldMk cId="3246831304" sldId="478"/>
            <ac:cxnSpMk id="11" creationId="{35E3CBAA-CB04-53BB-6EFB-770077388573}"/>
          </ac:cxnSpMkLst>
        </pc:cxnChg>
      </pc:sldChg>
    </pc:docChg>
  </pc:docChgLst>
  <pc:docChgLst>
    <pc:chgData name="Francisco Ortiz - Beka Finance" userId="17fc0672-9b28-497e-9f7f-4c3b7561c768" providerId="ADAL" clId="{4CE59101-6820-4584-9CD9-2ED30E8CC042}"/>
    <pc:docChg chg="undo custSel delSld modSld">
      <pc:chgData name="Francisco Ortiz - Beka Finance" userId="17fc0672-9b28-497e-9f7f-4c3b7561c768" providerId="ADAL" clId="{4CE59101-6820-4584-9CD9-2ED30E8CC042}" dt="2023-08-03T12:35:16.745" v="396" actId="14100"/>
      <pc:docMkLst>
        <pc:docMk/>
      </pc:docMkLst>
      <pc:sldChg chg="addSp delSp modSp mod">
        <pc:chgData name="Francisco Ortiz - Beka Finance" userId="17fc0672-9b28-497e-9f7f-4c3b7561c768" providerId="ADAL" clId="{4CE59101-6820-4584-9CD9-2ED30E8CC042}" dt="2023-08-03T12:25:43.520" v="381" actId="1035"/>
        <pc:sldMkLst>
          <pc:docMk/>
          <pc:sldMk cId="793129248" sldId="476"/>
        </pc:sldMkLst>
        <pc:spChg chg="del">
          <ac:chgData name="Francisco Ortiz - Beka Finance" userId="17fc0672-9b28-497e-9f7f-4c3b7561c768" providerId="ADAL" clId="{4CE59101-6820-4584-9CD9-2ED30E8CC042}" dt="2023-08-03T11:33:25.852" v="57" actId="478"/>
          <ac:spMkLst>
            <pc:docMk/>
            <pc:sldMk cId="793129248" sldId="476"/>
            <ac:spMk id="4" creationId="{84F6521A-04FE-457E-7970-ECE041E9128D}"/>
          </ac:spMkLst>
        </pc:spChg>
        <pc:spChg chg="mod">
          <ac:chgData name="Francisco Ortiz - Beka Finance" userId="17fc0672-9b28-497e-9f7f-4c3b7561c768" providerId="ADAL" clId="{4CE59101-6820-4584-9CD9-2ED30E8CC042}" dt="2023-08-03T12:20:32.858" v="361" actId="20577"/>
          <ac:spMkLst>
            <pc:docMk/>
            <pc:sldMk cId="793129248" sldId="476"/>
            <ac:spMk id="569" creationId="{8D73C412-4869-9F55-244E-0BA1036931BB}"/>
          </ac:spMkLst>
        </pc:spChg>
        <pc:spChg chg="del">
          <ac:chgData name="Francisco Ortiz - Beka Finance" userId="17fc0672-9b28-497e-9f7f-4c3b7561c768" providerId="ADAL" clId="{4CE59101-6820-4584-9CD9-2ED30E8CC042}" dt="2023-08-03T11:33:25.852" v="57" actId="478"/>
          <ac:spMkLst>
            <pc:docMk/>
            <pc:sldMk cId="793129248" sldId="476"/>
            <ac:spMk id="872" creationId="{80175310-9BF3-092A-A249-EE5FCF8D0071}"/>
          </ac:spMkLst>
        </pc:spChg>
        <pc:spChg chg="del">
          <ac:chgData name="Francisco Ortiz - Beka Finance" userId="17fc0672-9b28-497e-9f7f-4c3b7561c768" providerId="ADAL" clId="{4CE59101-6820-4584-9CD9-2ED30E8CC042}" dt="2023-08-03T11:33:23.495" v="56" actId="478"/>
          <ac:spMkLst>
            <pc:docMk/>
            <pc:sldMk cId="793129248" sldId="476"/>
            <ac:spMk id="873" creationId="{AC2C5777-797F-757B-B84E-5CFDE86E4BF1}"/>
          </ac:spMkLst>
        </pc:spChg>
        <pc:spChg chg="del">
          <ac:chgData name="Francisco Ortiz - Beka Finance" userId="17fc0672-9b28-497e-9f7f-4c3b7561c768" providerId="ADAL" clId="{4CE59101-6820-4584-9CD9-2ED30E8CC042}" dt="2023-08-03T11:33:23.495" v="56" actId="478"/>
          <ac:spMkLst>
            <pc:docMk/>
            <pc:sldMk cId="793129248" sldId="476"/>
            <ac:spMk id="874" creationId="{EDF89206-C879-5169-70A0-F11807B835FD}"/>
          </ac:spMkLst>
        </pc:spChg>
        <pc:spChg chg="del">
          <ac:chgData name="Francisco Ortiz - Beka Finance" userId="17fc0672-9b28-497e-9f7f-4c3b7561c768" providerId="ADAL" clId="{4CE59101-6820-4584-9CD9-2ED30E8CC042}" dt="2023-08-03T11:33:23.495" v="56" actId="478"/>
          <ac:spMkLst>
            <pc:docMk/>
            <pc:sldMk cId="793129248" sldId="476"/>
            <ac:spMk id="875" creationId="{EF17D59E-9243-EFED-D4E7-D5137FE89966}"/>
          </ac:spMkLst>
        </pc:spChg>
        <pc:spChg chg="del">
          <ac:chgData name="Francisco Ortiz - Beka Finance" userId="17fc0672-9b28-497e-9f7f-4c3b7561c768" providerId="ADAL" clId="{4CE59101-6820-4584-9CD9-2ED30E8CC042}" dt="2023-08-03T11:33:23.495" v="56" actId="478"/>
          <ac:spMkLst>
            <pc:docMk/>
            <pc:sldMk cId="793129248" sldId="476"/>
            <ac:spMk id="876" creationId="{582CDD4E-3BD5-1F69-8645-029AB542CD45}"/>
          </ac:spMkLst>
        </pc:spChg>
        <pc:spChg chg="del">
          <ac:chgData name="Francisco Ortiz - Beka Finance" userId="17fc0672-9b28-497e-9f7f-4c3b7561c768" providerId="ADAL" clId="{4CE59101-6820-4584-9CD9-2ED30E8CC042}" dt="2023-08-03T11:33:23.495" v="56" actId="478"/>
          <ac:spMkLst>
            <pc:docMk/>
            <pc:sldMk cId="793129248" sldId="476"/>
            <ac:spMk id="877" creationId="{4A50FC5C-DE35-9469-DB04-BF3C42FD25CE}"/>
          </ac:spMkLst>
        </pc:spChg>
        <pc:spChg chg="del">
          <ac:chgData name="Francisco Ortiz - Beka Finance" userId="17fc0672-9b28-497e-9f7f-4c3b7561c768" providerId="ADAL" clId="{4CE59101-6820-4584-9CD9-2ED30E8CC042}" dt="2023-08-03T11:33:25.852" v="57" actId="478"/>
          <ac:spMkLst>
            <pc:docMk/>
            <pc:sldMk cId="793129248" sldId="476"/>
            <ac:spMk id="878" creationId="{2424B808-1986-AF2B-691E-427CC3EA9ED7}"/>
          </ac:spMkLst>
        </pc:spChg>
        <pc:spChg chg="del">
          <ac:chgData name="Francisco Ortiz - Beka Finance" userId="17fc0672-9b28-497e-9f7f-4c3b7561c768" providerId="ADAL" clId="{4CE59101-6820-4584-9CD9-2ED30E8CC042}" dt="2023-08-03T11:33:23.495" v="56" actId="478"/>
          <ac:spMkLst>
            <pc:docMk/>
            <pc:sldMk cId="793129248" sldId="476"/>
            <ac:spMk id="879" creationId="{19938529-9452-D372-B7E1-D31C2356E49A}"/>
          </ac:spMkLst>
        </pc:spChg>
        <pc:spChg chg="del">
          <ac:chgData name="Francisco Ortiz - Beka Finance" userId="17fc0672-9b28-497e-9f7f-4c3b7561c768" providerId="ADAL" clId="{4CE59101-6820-4584-9CD9-2ED30E8CC042}" dt="2023-08-03T11:33:25.852" v="57" actId="478"/>
          <ac:spMkLst>
            <pc:docMk/>
            <pc:sldMk cId="793129248" sldId="476"/>
            <ac:spMk id="880" creationId="{45224894-223B-FA60-6BF0-8B1B225A60DC}"/>
          </ac:spMkLst>
        </pc:spChg>
        <pc:spChg chg="mod">
          <ac:chgData name="Francisco Ortiz - Beka Finance" userId="17fc0672-9b28-497e-9f7f-4c3b7561c768" providerId="ADAL" clId="{4CE59101-6820-4584-9CD9-2ED30E8CC042}" dt="2023-08-03T12:25:33.408" v="379" actId="1037"/>
          <ac:spMkLst>
            <pc:docMk/>
            <pc:sldMk cId="793129248" sldId="476"/>
            <ac:spMk id="881" creationId="{BA762C78-3D8E-A082-6C95-EC65FADE0EF6}"/>
          </ac:spMkLst>
        </pc:spChg>
        <pc:spChg chg="del">
          <ac:chgData name="Francisco Ortiz - Beka Finance" userId="17fc0672-9b28-497e-9f7f-4c3b7561c768" providerId="ADAL" clId="{4CE59101-6820-4584-9CD9-2ED30E8CC042}" dt="2023-08-03T11:33:23.495" v="56" actId="478"/>
          <ac:spMkLst>
            <pc:docMk/>
            <pc:sldMk cId="793129248" sldId="476"/>
            <ac:spMk id="883" creationId="{C94410D6-3CBF-0CEA-1257-6FFFECD0CB5B}"/>
          </ac:spMkLst>
        </pc:spChg>
        <pc:spChg chg="del">
          <ac:chgData name="Francisco Ortiz - Beka Finance" userId="17fc0672-9b28-497e-9f7f-4c3b7561c768" providerId="ADAL" clId="{4CE59101-6820-4584-9CD9-2ED30E8CC042}" dt="2023-08-03T11:33:23.495" v="56" actId="478"/>
          <ac:spMkLst>
            <pc:docMk/>
            <pc:sldMk cId="793129248" sldId="476"/>
            <ac:spMk id="884" creationId="{28368591-32F4-408B-87EB-3DB68CC06DC0}"/>
          </ac:spMkLst>
        </pc:spChg>
        <pc:spChg chg="del">
          <ac:chgData name="Francisco Ortiz - Beka Finance" userId="17fc0672-9b28-497e-9f7f-4c3b7561c768" providerId="ADAL" clId="{4CE59101-6820-4584-9CD9-2ED30E8CC042}" dt="2023-08-03T11:33:23.495" v="56" actId="478"/>
          <ac:spMkLst>
            <pc:docMk/>
            <pc:sldMk cId="793129248" sldId="476"/>
            <ac:spMk id="885" creationId="{78BB4A10-5A78-4B12-B70F-C35968DBB8A2}"/>
          </ac:spMkLst>
        </pc:spChg>
        <pc:spChg chg="del">
          <ac:chgData name="Francisco Ortiz - Beka Finance" userId="17fc0672-9b28-497e-9f7f-4c3b7561c768" providerId="ADAL" clId="{4CE59101-6820-4584-9CD9-2ED30E8CC042}" dt="2023-08-03T11:33:29.092" v="59" actId="478"/>
          <ac:spMkLst>
            <pc:docMk/>
            <pc:sldMk cId="793129248" sldId="476"/>
            <ac:spMk id="887" creationId="{05EF0321-4A46-5157-964E-4D5A6F6AFBD0}"/>
          </ac:spMkLst>
        </pc:spChg>
        <pc:spChg chg="del">
          <ac:chgData name="Francisco Ortiz - Beka Finance" userId="17fc0672-9b28-497e-9f7f-4c3b7561c768" providerId="ADAL" clId="{4CE59101-6820-4584-9CD9-2ED30E8CC042}" dt="2023-08-03T11:33:25.852" v="57" actId="478"/>
          <ac:spMkLst>
            <pc:docMk/>
            <pc:sldMk cId="793129248" sldId="476"/>
            <ac:spMk id="888" creationId="{C3EA2ACC-D19B-D946-6CCB-DD567DEA1A11}"/>
          </ac:spMkLst>
        </pc:spChg>
        <pc:spChg chg="del">
          <ac:chgData name="Francisco Ortiz - Beka Finance" userId="17fc0672-9b28-497e-9f7f-4c3b7561c768" providerId="ADAL" clId="{4CE59101-6820-4584-9CD9-2ED30E8CC042}" dt="2023-08-03T11:33:25.852" v="57" actId="478"/>
          <ac:spMkLst>
            <pc:docMk/>
            <pc:sldMk cId="793129248" sldId="476"/>
            <ac:spMk id="889" creationId="{1CA6FC90-6AE0-9685-1EDA-D708DE8803B1}"/>
          </ac:spMkLst>
        </pc:spChg>
        <pc:spChg chg="del">
          <ac:chgData name="Francisco Ortiz - Beka Finance" userId="17fc0672-9b28-497e-9f7f-4c3b7561c768" providerId="ADAL" clId="{4CE59101-6820-4584-9CD9-2ED30E8CC042}" dt="2023-08-03T11:33:27.174" v="58" actId="478"/>
          <ac:spMkLst>
            <pc:docMk/>
            <pc:sldMk cId="793129248" sldId="476"/>
            <ac:spMk id="891" creationId="{B48E5980-3498-0FCE-E8B6-FBDFAA1CB6DE}"/>
          </ac:spMkLst>
        </pc:spChg>
        <pc:graphicFrameChg chg="del">
          <ac:chgData name="Francisco Ortiz - Beka Finance" userId="17fc0672-9b28-497e-9f7f-4c3b7561c768" providerId="ADAL" clId="{4CE59101-6820-4584-9CD9-2ED30E8CC042}" dt="2023-08-03T11:33:25.852" v="57" actId="478"/>
          <ac:graphicFrameMkLst>
            <pc:docMk/>
            <pc:sldMk cId="793129248" sldId="476"/>
            <ac:graphicFrameMk id="9" creationId="{880726A4-1361-A504-D008-FF6724523B53}"/>
          </ac:graphicFrameMkLst>
        </pc:graphicFrameChg>
        <pc:graphicFrameChg chg="del modGraphic">
          <ac:chgData name="Francisco Ortiz - Beka Finance" userId="17fc0672-9b28-497e-9f7f-4c3b7561c768" providerId="ADAL" clId="{4CE59101-6820-4584-9CD9-2ED30E8CC042}" dt="2023-08-03T11:33:32.164" v="61" actId="478"/>
          <ac:graphicFrameMkLst>
            <pc:docMk/>
            <pc:sldMk cId="793129248" sldId="476"/>
            <ac:graphicFrameMk id="568" creationId="{396F6465-8BA2-4913-C301-19A68C492833}"/>
          </ac:graphicFrameMkLst>
        </pc:graphicFrameChg>
        <pc:picChg chg="add mod">
          <ac:chgData name="Francisco Ortiz - Beka Finance" userId="17fc0672-9b28-497e-9f7f-4c3b7561c768" providerId="ADAL" clId="{4CE59101-6820-4584-9CD9-2ED30E8CC042}" dt="2023-08-03T12:25:24.736" v="366" actId="1076"/>
          <ac:picMkLst>
            <pc:docMk/>
            <pc:sldMk cId="793129248" sldId="476"/>
            <ac:picMk id="1026" creationId="{401F6343-7E6E-62C6-CD2B-DCFA448EBE30}"/>
          </ac:picMkLst>
        </pc:picChg>
        <pc:picChg chg="add del mod">
          <ac:chgData name="Francisco Ortiz - Beka Finance" userId="17fc0672-9b28-497e-9f7f-4c3b7561c768" providerId="ADAL" clId="{4CE59101-6820-4584-9CD9-2ED30E8CC042}" dt="2023-08-03T12:12:50.481" v="313" actId="478"/>
          <ac:picMkLst>
            <pc:docMk/>
            <pc:sldMk cId="793129248" sldId="476"/>
            <ac:picMk id="3074" creationId="{AE89251B-5E4C-5069-1F1C-1C5419626EF3}"/>
          </ac:picMkLst>
        </pc:picChg>
        <pc:picChg chg="add del mod">
          <ac:chgData name="Francisco Ortiz - Beka Finance" userId="17fc0672-9b28-497e-9f7f-4c3b7561c768" providerId="ADAL" clId="{4CE59101-6820-4584-9CD9-2ED30E8CC042}" dt="2023-08-03T12:25:16.135" v="362" actId="478"/>
          <ac:picMkLst>
            <pc:docMk/>
            <pc:sldMk cId="793129248" sldId="476"/>
            <ac:picMk id="3076" creationId="{ED792E19-AD8A-E567-BAAC-30C38308E750}"/>
          </ac:picMkLst>
        </pc:picChg>
        <pc:cxnChg chg="del">
          <ac:chgData name="Francisco Ortiz - Beka Finance" userId="17fc0672-9b28-497e-9f7f-4c3b7561c768" providerId="ADAL" clId="{4CE59101-6820-4584-9CD9-2ED30E8CC042}" dt="2023-08-03T11:33:25.852" v="57" actId="478"/>
          <ac:cxnSpMkLst>
            <pc:docMk/>
            <pc:sldMk cId="793129248" sldId="476"/>
            <ac:cxnSpMk id="5" creationId="{2EA54867-89BD-EE53-20EC-530827BBFD65}"/>
          </ac:cxnSpMkLst>
        </pc:cxnChg>
        <pc:cxnChg chg="mod">
          <ac:chgData name="Francisco Ortiz - Beka Finance" userId="17fc0672-9b28-497e-9f7f-4c3b7561c768" providerId="ADAL" clId="{4CE59101-6820-4584-9CD9-2ED30E8CC042}" dt="2023-08-03T12:20:07.536" v="355" actId="1036"/>
          <ac:cxnSpMkLst>
            <pc:docMk/>
            <pc:sldMk cId="793129248" sldId="476"/>
            <ac:cxnSpMk id="570" creationId="{39091595-695B-B28E-F50C-5388602D8331}"/>
          </ac:cxnSpMkLst>
        </pc:cxnChg>
        <pc:cxnChg chg="del">
          <ac:chgData name="Francisco Ortiz - Beka Finance" userId="17fc0672-9b28-497e-9f7f-4c3b7561c768" providerId="ADAL" clId="{4CE59101-6820-4584-9CD9-2ED30E8CC042}" dt="2023-08-03T11:33:23.495" v="56" actId="478"/>
          <ac:cxnSpMkLst>
            <pc:docMk/>
            <pc:sldMk cId="793129248" sldId="476"/>
            <ac:cxnSpMk id="862" creationId="{33B41505-2A16-9C61-398E-7DF197464B1A}"/>
          </ac:cxnSpMkLst>
        </pc:cxnChg>
        <pc:cxnChg chg="del">
          <ac:chgData name="Francisco Ortiz - Beka Finance" userId="17fc0672-9b28-497e-9f7f-4c3b7561c768" providerId="ADAL" clId="{4CE59101-6820-4584-9CD9-2ED30E8CC042}" dt="2023-08-03T11:33:25.852" v="57" actId="478"/>
          <ac:cxnSpMkLst>
            <pc:docMk/>
            <pc:sldMk cId="793129248" sldId="476"/>
            <ac:cxnSpMk id="863" creationId="{8744234B-65AD-3EBA-3925-E59D0DD177B3}"/>
          </ac:cxnSpMkLst>
        </pc:cxnChg>
        <pc:cxnChg chg="del">
          <ac:chgData name="Francisco Ortiz - Beka Finance" userId="17fc0672-9b28-497e-9f7f-4c3b7561c768" providerId="ADAL" clId="{4CE59101-6820-4584-9CD9-2ED30E8CC042}" dt="2023-08-03T11:33:23.495" v="56" actId="478"/>
          <ac:cxnSpMkLst>
            <pc:docMk/>
            <pc:sldMk cId="793129248" sldId="476"/>
            <ac:cxnSpMk id="864" creationId="{5DA383B6-4595-AA5C-42CE-70B80FCD3E65}"/>
          </ac:cxnSpMkLst>
        </pc:cxnChg>
        <pc:cxnChg chg="del">
          <ac:chgData name="Francisco Ortiz - Beka Finance" userId="17fc0672-9b28-497e-9f7f-4c3b7561c768" providerId="ADAL" clId="{4CE59101-6820-4584-9CD9-2ED30E8CC042}" dt="2023-08-03T11:33:23.495" v="56" actId="478"/>
          <ac:cxnSpMkLst>
            <pc:docMk/>
            <pc:sldMk cId="793129248" sldId="476"/>
            <ac:cxnSpMk id="865" creationId="{8BA287ED-2956-7D9B-A41B-DA2521A51047}"/>
          </ac:cxnSpMkLst>
        </pc:cxnChg>
        <pc:cxnChg chg="del">
          <ac:chgData name="Francisco Ortiz - Beka Finance" userId="17fc0672-9b28-497e-9f7f-4c3b7561c768" providerId="ADAL" clId="{4CE59101-6820-4584-9CD9-2ED30E8CC042}" dt="2023-08-03T11:33:23.495" v="56" actId="478"/>
          <ac:cxnSpMkLst>
            <pc:docMk/>
            <pc:sldMk cId="793129248" sldId="476"/>
            <ac:cxnSpMk id="866" creationId="{FBA60CF8-1E5A-89C2-D552-077BD8F3711E}"/>
          </ac:cxnSpMkLst>
        </pc:cxnChg>
        <pc:cxnChg chg="del">
          <ac:chgData name="Francisco Ortiz - Beka Finance" userId="17fc0672-9b28-497e-9f7f-4c3b7561c768" providerId="ADAL" clId="{4CE59101-6820-4584-9CD9-2ED30E8CC042}" dt="2023-08-03T11:33:23.495" v="56" actId="478"/>
          <ac:cxnSpMkLst>
            <pc:docMk/>
            <pc:sldMk cId="793129248" sldId="476"/>
            <ac:cxnSpMk id="867" creationId="{792FF720-9FA0-DD9B-1860-699BD2A9243E}"/>
          </ac:cxnSpMkLst>
        </pc:cxnChg>
        <pc:cxnChg chg="del">
          <ac:chgData name="Francisco Ortiz - Beka Finance" userId="17fc0672-9b28-497e-9f7f-4c3b7561c768" providerId="ADAL" clId="{4CE59101-6820-4584-9CD9-2ED30E8CC042}" dt="2023-08-03T11:33:23.495" v="56" actId="478"/>
          <ac:cxnSpMkLst>
            <pc:docMk/>
            <pc:sldMk cId="793129248" sldId="476"/>
            <ac:cxnSpMk id="868" creationId="{DFA88E71-3D29-2760-56B8-077096A35C0A}"/>
          </ac:cxnSpMkLst>
        </pc:cxnChg>
        <pc:cxnChg chg="del">
          <ac:chgData name="Francisco Ortiz - Beka Finance" userId="17fc0672-9b28-497e-9f7f-4c3b7561c768" providerId="ADAL" clId="{4CE59101-6820-4584-9CD9-2ED30E8CC042}" dt="2023-08-03T11:33:25.852" v="57" actId="478"/>
          <ac:cxnSpMkLst>
            <pc:docMk/>
            <pc:sldMk cId="793129248" sldId="476"/>
            <ac:cxnSpMk id="869" creationId="{6582F5A0-8168-FC45-4622-6F0F62D53D7B}"/>
          </ac:cxnSpMkLst>
        </pc:cxnChg>
        <pc:cxnChg chg="del">
          <ac:chgData name="Francisco Ortiz - Beka Finance" userId="17fc0672-9b28-497e-9f7f-4c3b7561c768" providerId="ADAL" clId="{4CE59101-6820-4584-9CD9-2ED30E8CC042}" dt="2023-08-03T11:33:25.852" v="57" actId="478"/>
          <ac:cxnSpMkLst>
            <pc:docMk/>
            <pc:sldMk cId="793129248" sldId="476"/>
            <ac:cxnSpMk id="870" creationId="{9D953069-8DE3-3C96-EAAB-FB32BAA31268}"/>
          </ac:cxnSpMkLst>
        </pc:cxnChg>
        <pc:cxnChg chg="mod">
          <ac:chgData name="Francisco Ortiz - Beka Finance" userId="17fc0672-9b28-497e-9f7f-4c3b7561c768" providerId="ADAL" clId="{4CE59101-6820-4584-9CD9-2ED30E8CC042}" dt="2023-08-03T12:25:43.520" v="381" actId="1035"/>
          <ac:cxnSpMkLst>
            <pc:docMk/>
            <pc:sldMk cId="793129248" sldId="476"/>
            <ac:cxnSpMk id="882" creationId="{BAF396B4-6509-313C-533C-75C7528ACE6E}"/>
          </ac:cxnSpMkLst>
        </pc:cxnChg>
        <pc:cxnChg chg="del">
          <ac:chgData name="Francisco Ortiz - Beka Finance" userId="17fc0672-9b28-497e-9f7f-4c3b7561c768" providerId="ADAL" clId="{4CE59101-6820-4584-9CD9-2ED30E8CC042}" dt="2023-08-03T11:33:25.852" v="57" actId="478"/>
          <ac:cxnSpMkLst>
            <pc:docMk/>
            <pc:sldMk cId="793129248" sldId="476"/>
            <ac:cxnSpMk id="886" creationId="{CE1ECB8B-A70C-A925-9CA6-B03EBBE5FABB}"/>
          </ac:cxnSpMkLst>
        </pc:cxnChg>
        <pc:cxnChg chg="del">
          <ac:chgData name="Francisco Ortiz - Beka Finance" userId="17fc0672-9b28-497e-9f7f-4c3b7561c768" providerId="ADAL" clId="{4CE59101-6820-4584-9CD9-2ED30E8CC042}" dt="2023-08-03T11:33:25.852" v="57" actId="478"/>
          <ac:cxnSpMkLst>
            <pc:docMk/>
            <pc:sldMk cId="793129248" sldId="476"/>
            <ac:cxnSpMk id="890" creationId="{64BEA610-6D64-F195-2D00-8FD16546828E}"/>
          </ac:cxnSpMkLst>
        </pc:cxnChg>
      </pc:sldChg>
      <pc:sldChg chg="addSp delSp modSp mod">
        <pc:chgData name="Francisco Ortiz - Beka Finance" userId="17fc0672-9b28-497e-9f7f-4c3b7561c768" providerId="ADAL" clId="{4CE59101-6820-4584-9CD9-2ED30E8CC042}" dt="2023-08-03T11:38:19.838" v="136" actId="1038"/>
        <pc:sldMkLst>
          <pc:docMk/>
          <pc:sldMk cId="2542065065" sldId="477"/>
        </pc:sldMkLst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4" creationId="{44E9903B-1CD1-F3A8-A95B-A317FE2CA7AF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8" creationId="{0AC5F2CF-A6E8-D9BB-67AB-1CFDF771CA63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10" creationId="{66D87F4F-FBFF-C83A-63C5-8961D00A161E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13" creationId="{8245FB8A-86E2-EB3D-ACE2-7409F64C9997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15" creationId="{D572EC7F-E752-3E5C-49FC-55D821DCBB39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16" creationId="{751901A5-FBEF-4BDD-AA2E-AD8A848C5CA9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19" creationId="{FF99B52C-F6AE-10E2-CCD6-44E3CEF90BCC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23" creationId="{6C6A138C-F0D5-F9F0-1BD4-D85FA5923685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26" creationId="{86759D67-772D-BE0F-0948-3D7E4276286E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27" creationId="{17D71EED-CB0E-D48D-506E-62CCEBA64B8C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30" creationId="{E83C4CB3-27BC-54B6-082D-6726E236D385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32" creationId="{E902BB7F-6EEE-D00A-958C-DD9933059314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34" creationId="{1B8706D4-605B-1146-81F8-7C209BF20F4D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37" creationId="{52B3FC10-9E34-91A3-79A3-384B806B6025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41" creationId="{B07A2E16-2966-C62E-2C81-B523553305C9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43" creationId="{8042215E-CBFC-4649-8451-AA39D3DF08E4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45" creationId="{89409044-B50C-E5A6-38E8-3A3595201670}"/>
          </ac:spMkLst>
        </pc:spChg>
        <pc:spChg chg="del">
          <ac:chgData name="Francisco Ortiz - Beka Finance" userId="17fc0672-9b28-497e-9f7f-4c3b7561c768" providerId="ADAL" clId="{4CE59101-6820-4584-9CD9-2ED30E8CC042}" dt="2023-08-03T11:22:54.020" v="37" actId="478"/>
          <ac:spMkLst>
            <pc:docMk/>
            <pc:sldMk cId="2542065065" sldId="477"/>
            <ac:spMk id="47" creationId="{57AF8497-93C6-62D6-749A-7CEBD38A06C1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50" creationId="{22E3489F-DF30-3134-634C-8D5879053DED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53" creationId="{F2E91D08-4878-B28A-0469-522D8645D699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54" creationId="{0F796F19-1A11-8EAD-2A52-21943829E77B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60" creationId="{7DD8A443-4A77-AB21-68B6-A7E867CC02FF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62" creationId="{6EC1ACB0-7F41-DED0-74E5-27F66E6ABD44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64" creationId="{682D8657-27BF-7200-926F-4EBDEBDE9A4D}"/>
          </ac:spMkLst>
        </pc:spChg>
        <pc:spChg chg="del">
          <ac:chgData name="Francisco Ortiz - Beka Finance" userId="17fc0672-9b28-497e-9f7f-4c3b7561c768" providerId="ADAL" clId="{4CE59101-6820-4584-9CD9-2ED30E8CC042}" dt="2023-08-03T11:22:54.020" v="37" actId="478"/>
          <ac:spMkLst>
            <pc:docMk/>
            <pc:sldMk cId="2542065065" sldId="477"/>
            <ac:spMk id="80" creationId="{BC8CC5CD-01C9-BEF0-222A-05659607E3B8}"/>
          </ac:spMkLst>
        </pc:spChg>
        <pc:spChg chg="del">
          <ac:chgData name="Francisco Ortiz - Beka Finance" userId="17fc0672-9b28-497e-9f7f-4c3b7561c768" providerId="ADAL" clId="{4CE59101-6820-4584-9CD9-2ED30E8CC042}" dt="2023-08-03T11:22:54.020" v="37" actId="478"/>
          <ac:spMkLst>
            <pc:docMk/>
            <pc:sldMk cId="2542065065" sldId="477"/>
            <ac:spMk id="82" creationId="{64C32951-055C-3D1B-6210-F181AE22F445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83" creationId="{D213A76B-9E21-5E45-F3C8-80610B95A6D5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85" creationId="{42614171-72A2-0124-D588-DC532DBB47A6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88" creationId="{53374813-C652-3AD8-5BD0-1A88312BEEC3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89" creationId="{7ED3E2A3-851E-585D-589B-42AB66034937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102" creationId="{1A529ACF-59A4-7EDE-F6F5-7D9786230361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105" creationId="{4369CC43-3981-5DBD-0DA0-F8AF3D098FEB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108" creationId="{C23FB4D4-96A2-9635-6316-2089F0CBA37D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118" creationId="{3F6FB013-1D59-D811-D7FA-A8738378D30D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128" creationId="{A1CAE040-6AAC-47C8-24EE-CB639D10110B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129" creationId="{1FB8D74C-A5AA-C325-84D6-4E95CA22E540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130" creationId="{1FB52F3E-DB6C-69A9-42BE-C9F4721FD54D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131" creationId="{D8FE8A17-E03C-39F8-F06B-7DF35BAA23FC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132" creationId="{E0BC2E82-4F9D-B511-2F5E-1EE0CCCB224E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133" creationId="{D69F282E-4229-9FE8-D43A-38E9F5E2D319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134" creationId="{B4D8F17C-E7D7-5897-0E04-7548B06DB387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135" creationId="{BCB2DD82-4969-FAA5-2116-8E73C1A116BB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136" creationId="{8228C7C5-2F05-1D24-05F0-47FE0B864E8F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157" creationId="{F9DF8276-9BED-3DC3-2177-57C3C15408CA}"/>
          </ac:spMkLst>
        </pc:spChg>
        <pc:spChg chg="mod">
          <ac:chgData name="Francisco Ortiz - Beka Finance" userId="17fc0672-9b28-497e-9f7f-4c3b7561c768" providerId="ADAL" clId="{4CE59101-6820-4584-9CD9-2ED30E8CC042}" dt="2023-08-03T11:37:51.412" v="126" actId="1038"/>
          <ac:spMkLst>
            <pc:docMk/>
            <pc:sldMk cId="2542065065" sldId="477"/>
            <ac:spMk id="177" creationId="{7C0B0963-8890-AD01-55AE-9214F4A1163C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199" creationId="{059A2EFA-FDA8-0F2F-4A2B-CEF224BBA6D7}"/>
          </ac:spMkLst>
        </pc:spChg>
        <pc:spChg chg="mod">
          <ac:chgData name="Francisco Ortiz - Beka Finance" userId="17fc0672-9b28-497e-9f7f-4c3b7561c768" providerId="ADAL" clId="{4CE59101-6820-4584-9CD9-2ED30E8CC042}" dt="2023-08-03T11:37:28.671" v="119" actId="1035"/>
          <ac:spMkLst>
            <pc:docMk/>
            <pc:sldMk cId="2542065065" sldId="477"/>
            <ac:spMk id="218" creationId="{2789745E-7F6D-4955-82D5-4570BD67B8D6}"/>
          </ac:spMkLst>
        </pc:spChg>
        <pc:spChg chg="mod">
          <ac:chgData name="Francisco Ortiz - Beka Finance" userId="17fc0672-9b28-497e-9f7f-4c3b7561c768" providerId="ADAL" clId="{4CE59101-6820-4584-9CD9-2ED30E8CC042}" dt="2023-08-03T11:38:19.838" v="136" actId="1038"/>
          <ac:spMkLst>
            <pc:docMk/>
            <pc:sldMk cId="2542065065" sldId="477"/>
            <ac:spMk id="221" creationId="{93D04750-1D86-0DDD-F952-D1179A90D3F7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244" creationId="{DB17504A-C755-A39D-86DA-A36C3BF4E8FF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250" creationId="{BE9CB84D-1827-3715-61D8-C0EBF74ABF27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256" creationId="{9E34B334-9F1E-25CF-BE45-A62E459FBE94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264" creationId="{F16517C5-5AC3-E176-E0DF-58949914BA1A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275" creationId="{FD1F42EB-BC7C-E4EB-C085-21750D4F8E25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276" creationId="{68ED9659-4958-B191-69A7-F77DF1011EFD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283" creationId="{569C6DB0-DF35-89BC-3D34-C8FCE6D0B5BB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362" creationId="{FAFAD94C-4666-1E10-E019-C5A39ED64096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379" creationId="{658A3D18-73E8-52E6-1CA3-D4D4FE60C90D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401" creationId="{8D602DF8-8BE6-35DA-ED7D-6A69B18A3817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402" creationId="{7567DEE6-0ADB-D3A1-0157-FDF4C9DB5DA6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403" creationId="{AE1A7311-4C26-56DD-6B70-159ED7E3303C}"/>
          </ac:spMkLst>
        </pc:spChg>
        <pc:spChg chg="mod">
          <ac:chgData name="Francisco Ortiz - Beka Finance" userId="17fc0672-9b28-497e-9f7f-4c3b7561c768" providerId="ADAL" clId="{4CE59101-6820-4584-9CD9-2ED30E8CC042}" dt="2023-08-03T11:37:31.594" v="120" actId="1076"/>
          <ac:spMkLst>
            <pc:docMk/>
            <pc:sldMk cId="2542065065" sldId="477"/>
            <ac:spMk id="441" creationId="{FD227573-BBE4-BC7B-AADA-8B51F4F6DF70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459" creationId="{772E9A29-0521-8BF5-6BC7-749B99F1EAE4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547" creationId="{4C4D1145-B737-5608-DBA7-BCE488D1B7AC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549" creationId="{18EEBFAB-FA00-C951-1A1C-D55D4A4E3019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551" creationId="{C4D38F45-EB4D-7274-751A-9F95579E2CDF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553" creationId="{58FB95AE-BA80-FBB5-86E6-E60105BCB2E8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572" creationId="{16ED7865-DC36-2884-10B1-0AC87F893EA0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573" creationId="{3BF2D32E-0D74-4B1A-8F0D-17094785E4C1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574" creationId="{6189D956-E949-0C33-7399-D3BFEECB44E7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575" creationId="{1FCD9608-3975-6205-FCA5-1C6E1079E854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596" creationId="{9A637E3B-7C08-2C3D-1A84-24AE8BECF7EB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597" creationId="{F71DFF90-17E4-0C43-E7B2-A6808C18DDB1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598" creationId="{5A9030C5-8E69-2515-65DE-C88B7DB4DAF3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599" creationId="{63F64859-2BAF-2838-15E6-F76AA8948589}"/>
          </ac:spMkLst>
        </pc:spChg>
        <pc:spChg chg="del">
          <ac:chgData name="Francisco Ortiz - Beka Finance" userId="17fc0672-9b28-497e-9f7f-4c3b7561c768" providerId="ADAL" clId="{4CE59101-6820-4584-9CD9-2ED30E8CC042}" dt="2023-08-03T11:22:56.361" v="38" actId="478"/>
          <ac:spMkLst>
            <pc:docMk/>
            <pc:sldMk cId="2542065065" sldId="477"/>
            <ac:spMk id="602" creationId="{CC42BB44-C8D1-A168-BA74-72AB8896FAF5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604" creationId="{2668EE77-4E40-06E5-BCB5-212808A8270B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606" creationId="{761CBBB9-85F1-234A-B0DC-01F346790DBE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610" creationId="{E0C3E56D-DEDD-B6E6-E4AD-0DF34072C7F2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611" creationId="{B0F0E962-1668-6CCF-B379-EF7F8C24A99B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612" creationId="{48833D6C-3F69-EA33-5176-B477CBD80CDC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618" creationId="{1D73D202-42AA-1BDC-B69B-8E37B42059E0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619" creationId="{E8C0837E-6BFF-B931-CF2F-9C813154EEE4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620" creationId="{2AD12C09-0C79-C4CC-4F73-F70C739C2F85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622" creationId="{0E2EF47A-7E92-E897-2DB1-73856D0E71F1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624" creationId="{B23F0089-9027-74F0-B09C-AB3874ADB646}"/>
          </ac:spMkLst>
        </pc:spChg>
        <pc:spChg chg="del mod">
          <ac:chgData name="Francisco Ortiz - Beka Finance" userId="17fc0672-9b28-497e-9f7f-4c3b7561c768" providerId="ADAL" clId="{4CE59101-6820-4584-9CD9-2ED30E8CC042}" dt="2023-08-03T11:22:58.183" v="40" actId="478"/>
          <ac:spMkLst>
            <pc:docMk/>
            <pc:sldMk cId="2542065065" sldId="477"/>
            <ac:spMk id="629" creationId="{B534B286-50F6-6D3A-678A-519D4759C604}"/>
          </ac:spMkLst>
        </pc:spChg>
        <pc:spChg chg="del">
          <ac:chgData name="Francisco Ortiz - Beka Finance" userId="17fc0672-9b28-497e-9f7f-4c3b7561c768" providerId="ADAL" clId="{4CE59101-6820-4584-9CD9-2ED30E8CC042}" dt="2023-08-03T11:22:54.020" v="37" actId="478"/>
          <ac:spMkLst>
            <pc:docMk/>
            <pc:sldMk cId="2542065065" sldId="477"/>
            <ac:spMk id="630" creationId="{4642DC9E-8B12-4F33-74E4-5FCCF6D9003D}"/>
          </ac:spMkLst>
        </pc:spChg>
        <pc:spChg chg="del mod">
          <ac:chgData name="Francisco Ortiz - Beka Finance" userId="17fc0672-9b28-497e-9f7f-4c3b7561c768" providerId="ADAL" clId="{4CE59101-6820-4584-9CD9-2ED30E8CC042}" dt="2023-08-03T11:22:59.515" v="42" actId="478"/>
          <ac:spMkLst>
            <pc:docMk/>
            <pc:sldMk cId="2542065065" sldId="477"/>
            <ac:spMk id="632" creationId="{EAFEDA77-F7AC-B1F0-9340-DCEF419F0690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633" creationId="{3CA40A0B-C532-6E37-C3F1-AA4977D6D231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634" creationId="{D69398C7-4EC1-AEE4-FE67-F1CED79A6B85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636" creationId="{D050D631-82FB-41E6-DB3F-4FF2135B80B4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638" creationId="{BD58EFEE-EDF4-992D-EB2F-95BB2F674F13}"/>
          </ac:spMkLst>
        </pc:spChg>
        <pc:spChg chg="del mod">
          <ac:chgData name="Francisco Ortiz - Beka Finance" userId="17fc0672-9b28-497e-9f7f-4c3b7561c768" providerId="ADAL" clId="{4CE59101-6820-4584-9CD9-2ED30E8CC042}" dt="2023-08-03T11:23:18.707" v="50" actId="478"/>
          <ac:spMkLst>
            <pc:docMk/>
            <pc:sldMk cId="2542065065" sldId="477"/>
            <ac:spMk id="639" creationId="{34575234-73AE-F210-F6EC-668CEA389728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640" creationId="{7DB6A5F4-BA5F-B65F-CBA1-2BC08D533019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641" creationId="{7D918862-B317-F387-169E-EB04881F80AF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642" creationId="{FDB37DF9-9072-2A59-6D0F-5A35EFF34E39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644" creationId="{2885CC7E-B0CF-9C70-B689-E4A43D71BA0D}"/>
          </ac:spMkLst>
        </pc:spChg>
        <pc:spChg chg="del">
          <ac:chgData name="Francisco Ortiz - Beka Finance" userId="17fc0672-9b28-497e-9f7f-4c3b7561c768" providerId="ADAL" clId="{4CE59101-6820-4584-9CD9-2ED30E8CC042}" dt="2023-08-03T11:23:10.816" v="46" actId="478"/>
          <ac:spMkLst>
            <pc:docMk/>
            <pc:sldMk cId="2542065065" sldId="477"/>
            <ac:spMk id="654" creationId="{773A4C78-4248-5066-A8DB-9B7B29404686}"/>
          </ac:spMkLst>
        </pc:spChg>
        <pc:spChg chg="del">
          <ac:chgData name="Francisco Ortiz - Beka Finance" userId="17fc0672-9b28-497e-9f7f-4c3b7561c768" providerId="ADAL" clId="{4CE59101-6820-4584-9CD9-2ED30E8CC042}" dt="2023-08-03T11:23:03.190" v="44" actId="478"/>
          <ac:spMkLst>
            <pc:docMk/>
            <pc:sldMk cId="2542065065" sldId="477"/>
            <ac:spMk id="655" creationId="{D0C5A35A-E1C9-3472-C8E2-1178645ECCE4}"/>
          </ac:spMkLst>
        </pc:spChg>
        <pc:spChg chg="del">
          <ac:chgData name="Francisco Ortiz - Beka Finance" userId="17fc0672-9b28-497e-9f7f-4c3b7561c768" providerId="ADAL" clId="{4CE59101-6820-4584-9CD9-2ED30E8CC042}" dt="2023-08-03T11:23:00.901" v="43" actId="478"/>
          <ac:spMkLst>
            <pc:docMk/>
            <pc:sldMk cId="2542065065" sldId="477"/>
            <ac:spMk id="656" creationId="{404404CA-6169-7391-4E82-892136C667BB}"/>
          </ac:spMkLst>
        </pc:spChg>
        <pc:spChg chg="mod">
          <ac:chgData name="Francisco Ortiz - Beka Finance" userId="17fc0672-9b28-497e-9f7f-4c3b7561c768" providerId="ADAL" clId="{4CE59101-6820-4584-9CD9-2ED30E8CC042}" dt="2023-08-03T11:23:16.167" v="48" actId="6549"/>
          <ac:spMkLst>
            <pc:docMk/>
            <pc:sldMk cId="2542065065" sldId="477"/>
            <ac:spMk id="657" creationId="{F90C6410-E3A2-9120-A820-E8D57667027C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758" creationId="{C3102361-8ED4-87BD-3C21-523A7536CF2E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760" creationId="{49C339D0-31B9-410C-5C45-524A20BCCAB1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762" creationId="{8F7BF9F6-C172-B69C-2606-31CEE5BA4387}"/>
          </ac:spMkLst>
        </pc:spChg>
        <pc:spChg chg="del">
          <ac:chgData name="Francisco Ortiz - Beka Finance" userId="17fc0672-9b28-497e-9f7f-4c3b7561c768" providerId="ADAL" clId="{4CE59101-6820-4584-9CD9-2ED30E8CC042}" dt="2023-08-03T11:22:51.169" v="36" actId="478"/>
          <ac:spMkLst>
            <pc:docMk/>
            <pc:sldMk cId="2542065065" sldId="477"/>
            <ac:spMk id="764" creationId="{503163B3-DE62-67BA-B67E-85AB7FA7F571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787" creationId="{EDD3611F-0B81-DB26-BAFA-6383B402E514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789" creationId="{D4121A9D-CD30-4EA1-EA24-0E9E0C54C30B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791" creationId="{F1A93710-467D-95C2-992C-E5A73A389E6E}"/>
          </ac:spMkLst>
        </pc:spChg>
        <pc:spChg chg="del">
          <ac:chgData name="Francisco Ortiz - Beka Finance" userId="17fc0672-9b28-497e-9f7f-4c3b7561c768" providerId="ADAL" clId="{4CE59101-6820-4584-9CD9-2ED30E8CC042}" dt="2023-08-03T11:23:06.974" v="45" actId="478"/>
          <ac:spMkLst>
            <pc:docMk/>
            <pc:sldMk cId="2542065065" sldId="477"/>
            <ac:spMk id="793" creationId="{B864F369-6FE5-8AF7-2701-B7E2F7333868}"/>
          </ac:spMkLst>
        </pc:spChg>
        <pc:graphicFrameChg chg="del">
          <ac:chgData name="Francisco Ortiz - Beka Finance" userId="17fc0672-9b28-497e-9f7f-4c3b7561c768" providerId="ADAL" clId="{4CE59101-6820-4584-9CD9-2ED30E8CC042}" dt="2023-08-03T11:23:06.974" v="45" actId="478"/>
          <ac:graphicFrameMkLst>
            <pc:docMk/>
            <pc:sldMk cId="2542065065" sldId="477"/>
            <ac:graphicFrameMk id="72" creationId="{B29A2D94-97F7-C4B1-E04B-E3ECA65E8716}"/>
          </ac:graphicFrameMkLst>
        </pc:graphicFrameChg>
        <pc:graphicFrameChg chg="del">
          <ac:chgData name="Francisco Ortiz - Beka Finance" userId="17fc0672-9b28-497e-9f7f-4c3b7561c768" providerId="ADAL" clId="{4CE59101-6820-4584-9CD9-2ED30E8CC042}" dt="2023-08-03T11:22:54.020" v="37" actId="478"/>
          <ac:graphicFrameMkLst>
            <pc:docMk/>
            <pc:sldMk cId="2542065065" sldId="477"/>
            <ac:graphicFrameMk id="93" creationId="{B6488AFC-D22C-1255-1E0A-36DC1A98D90F}"/>
          </ac:graphicFrameMkLst>
        </pc:graphicFrameChg>
        <pc:graphicFrameChg chg="del">
          <ac:chgData name="Francisco Ortiz - Beka Finance" userId="17fc0672-9b28-497e-9f7f-4c3b7561c768" providerId="ADAL" clId="{4CE59101-6820-4584-9CD9-2ED30E8CC042}" dt="2023-08-03T11:23:06.974" v="45" actId="478"/>
          <ac:graphicFrameMkLst>
            <pc:docMk/>
            <pc:sldMk cId="2542065065" sldId="477"/>
            <ac:graphicFrameMk id="96" creationId="{337D34EE-8396-B7D2-B6EB-9DC9563F91A6}"/>
          </ac:graphicFrameMkLst>
        </pc:graphicFrameChg>
        <pc:graphicFrameChg chg="del">
          <ac:chgData name="Francisco Ortiz - Beka Finance" userId="17fc0672-9b28-497e-9f7f-4c3b7561c768" providerId="ADAL" clId="{4CE59101-6820-4584-9CD9-2ED30E8CC042}" dt="2023-08-03T11:22:54.020" v="37" actId="478"/>
          <ac:graphicFrameMkLst>
            <pc:docMk/>
            <pc:sldMk cId="2542065065" sldId="477"/>
            <ac:graphicFrameMk id="112" creationId="{DAFA95E2-BAF7-4E36-49E3-A4DB9309B96D}"/>
          </ac:graphicFrameMkLst>
        </pc:graphicFrameChg>
        <pc:picChg chg="add del mod">
          <ac:chgData name="Francisco Ortiz - Beka Finance" userId="17fc0672-9b28-497e-9f7f-4c3b7561c768" providerId="ADAL" clId="{4CE59101-6820-4584-9CD9-2ED30E8CC042}" dt="2023-08-03T11:36:23.637" v="76" actId="478"/>
          <ac:picMkLst>
            <pc:docMk/>
            <pc:sldMk cId="2542065065" sldId="477"/>
            <ac:picMk id="1026" creationId="{AB20FC69-8FDE-A892-F530-DD2B4597A286}"/>
          </ac:picMkLst>
        </pc:picChg>
        <pc:picChg chg="add mod">
          <ac:chgData name="Francisco Ortiz - Beka Finance" userId="17fc0672-9b28-497e-9f7f-4c3b7561c768" providerId="ADAL" clId="{4CE59101-6820-4584-9CD9-2ED30E8CC042}" dt="2023-08-03T11:36:43.293" v="91" actId="1036"/>
          <ac:picMkLst>
            <pc:docMk/>
            <pc:sldMk cId="2542065065" sldId="477"/>
            <ac:picMk id="1028" creationId="{729E1E62-4733-5771-A932-C536E0A7BB6D}"/>
          </ac:picMkLst>
        </pc:pic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5" creationId="{A542E25C-4392-123C-A8C6-F64BFD081621}"/>
          </ac:cxnSpMkLst>
        </pc:cxnChg>
        <pc:cxnChg chg="add mod">
          <ac:chgData name="Francisco Ortiz - Beka Finance" userId="17fc0672-9b28-497e-9f7f-4c3b7561c768" providerId="ADAL" clId="{4CE59101-6820-4584-9CD9-2ED30E8CC042}" dt="2023-08-03T11:37:21.705" v="116" actId="1076"/>
          <ac:cxnSpMkLst>
            <pc:docMk/>
            <pc:sldMk cId="2542065065" sldId="477"/>
            <ac:cxnSpMk id="6" creationId="{3DA78DA5-A911-C44F-4AEC-D3A260B3DDE4}"/>
          </ac:cxnSpMkLst>
        </pc:cxnChg>
        <pc:cxnChg chg="add mod">
          <ac:chgData name="Francisco Ortiz - Beka Finance" userId="17fc0672-9b28-497e-9f7f-4c3b7561c768" providerId="ADAL" clId="{4CE59101-6820-4584-9CD9-2ED30E8CC042}" dt="2023-08-03T11:38:11.830" v="132" actId="1038"/>
          <ac:cxnSpMkLst>
            <pc:docMk/>
            <pc:sldMk cId="2542065065" sldId="477"/>
            <ac:cxnSpMk id="7" creationId="{35F2AF70-5A94-875A-7B25-36BC5041747D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9" creationId="{B0D750F2-3A92-4BFA-CD6E-41E44EA228D1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11" creationId="{6F14EC1D-C710-EB40-5047-8506F8C4F90A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12" creationId="{C173BACD-6E87-2302-749E-68FEDD5BB4CA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14" creationId="{AEB2448A-72CB-9C3A-4F91-1755B00CEDE5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17" creationId="{1CFF16E7-D21C-6FC0-7EF0-584CB0C82928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18" creationId="{48FC28CB-72CE-E9EB-B656-BB13CE1787B6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20" creationId="{604D7604-3710-1E3D-4A4A-8A371B5FA74F}"/>
          </ac:cxnSpMkLst>
        </pc:cxnChg>
        <pc:cxnChg chg="add mod">
          <ac:chgData name="Francisco Ortiz - Beka Finance" userId="17fc0672-9b28-497e-9f7f-4c3b7561c768" providerId="ADAL" clId="{4CE59101-6820-4584-9CD9-2ED30E8CC042}" dt="2023-08-03T11:38:14.717" v="134" actId="1035"/>
          <ac:cxnSpMkLst>
            <pc:docMk/>
            <pc:sldMk cId="2542065065" sldId="477"/>
            <ac:cxnSpMk id="21" creationId="{CE0279FC-8458-21D2-D375-0F630F7A5C07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24" creationId="{D025C249-06A5-9480-7950-39A20187DD0D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28" creationId="{4F3DE94A-6C8F-D1F0-C09C-A936F12C2BD5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29" creationId="{5B492DFB-9873-CBD6-803A-D0FE28BAE90D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31" creationId="{E01D3E6C-B571-90CD-98BF-90EAD9144397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33" creationId="{313D7275-9ADF-8F49-65E6-67E726FF2A37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35" creationId="{6F9DE2FD-EDBB-A293-DDFC-E56EB6D30CDD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36" creationId="{BFC9C730-A4E8-9556-2D56-9D9CF6FDA12B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39" creationId="{665661CA-7B5B-6B08-34A1-53A0DAFBA2D5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40" creationId="{1F825C94-12F4-9025-CB8F-D4B2208BAD8E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42" creationId="{3B1EBE1B-F270-FF33-9CAA-82D914422342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44" creationId="{BEDEF69D-5D59-17DA-11C7-E29084F580D5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46" creationId="{721C61F7-73B5-D655-C487-E20F2FB9A519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48" creationId="{44980F3F-59C2-B3C2-B54A-1DACA1EDC3EA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49" creationId="{9BBFF8AE-2D39-DD08-5687-F6D6C4C7BB80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51" creationId="{1CC3DF04-32E0-E967-00FA-7EA3792732A4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52" creationId="{4B19DF57-B7A6-477A-55EE-F12D3F6A5B0F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55" creationId="{2D1BD2F7-8431-4CBD-2FAA-E2001532CDF6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56" creationId="{EF8867AC-FB87-EEBD-36F8-A83BAD2A77FC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57" creationId="{58947CAF-26E2-98DB-616D-0152D4441F6A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58" creationId="{6999F3C1-33C7-E213-03B9-EEC813C0327B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59" creationId="{F00A26C2-B24D-0F89-8602-F06FEA9D7FDB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61" creationId="{B52331E4-64FA-0F15-921C-2715D670DDCD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63" creationId="{1CD23C59-6DB3-9D91-A3C9-CE73BF0B00AC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65" creationId="{BC5C2E04-3E7C-8B73-5501-69C3EF9E2F54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66" creationId="{A9952691-5474-A83B-627E-1FD1271FF352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67" creationId="{ADDD4AE7-F613-72A8-F588-87E2A970E6E1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68" creationId="{C92A7D11-B609-AA71-D4C5-6225A91E024E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69" creationId="{E539F092-6D58-EDC4-8E5F-FB7CB7F2D7EF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71" creationId="{DF2D664F-649D-D51A-4F3C-7F55933C43C4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73" creationId="{9E34DBE4-B1E5-3CC0-752E-EBE804B193FC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74" creationId="{4B13ED32-A52F-4EA0-9241-2F526E131F91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75" creationId="{B33B3B15-EE10-AC0E-8D28-2CA86E244026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76" creationId="{8ADB8A54-A962-0E3C-2046-AE1594FF7D2D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77" creationId="{B4B40F3F-8268-05A9-6658-097B111C84E2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79" creationId="{4927D1F4-C252-9295-54A8-D85267BADA63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81" creationId="{7D07F26E-0B2E-DA18-1CEF-48ADD074387A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84" creationId="{C17D13B4-A0C0-B205-F8A8-8162201F7C10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86" creationId="{C91D02E6-C894-5585-6E6F-0E91D81F6A7B}"/>
          </ac:cxnSpMkLst>
        </pc:cxnChg>
        <pc:cxnChg chg="del">
          <ac:chgData name="Francisco Ortiz - Beka Finance" userId="17fc0672-9b28-497e-9f7f-4c3b7561c768" providerId="ADAL" clId="{4CE59101-6820-4584-9CD9-2ED30E8CC042}" dt="2023-08-03T11:22:54.020" v="37" actId="478"/>
          <ac:cxnSpMkLst>
            <pc:docMk/>
            <pc:sldMk cId="2542065065" sldId="477"/>
            <ac:cxnSpMk id="87" creationId="{9B325A3F-B752-2AA7-8FBB-DE9084F27CA9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90" creationId="{BFB8D3BD-5C91-C240-A610-FC5C1BE4FB17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92" creationId="{1C566BB7-400E-2989-19F8-38ABBF306679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97" creationId="{AF0071F4-9287-9EEF-0706-81B1C7186696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98" creationId="{7A3C9A65-D5F9-957D-9967-B45A90660EA6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99" creationId="{308776D0-C919-3C1E-1F57-E8F4EF399A96}"/>
          </ac:cxnSpMkLst>
        </pc:cxnChg>
        <pc:cxnChg chg="del">
          <ac:chgData name="Francisco Ortiz - Beka Finance" userId="17fc0672-9b28-497e-9f7f-4c3b7561c768" providerId="ADAL" clId="{4CE59101-6820-4584-9CD9-2ED30E8CC042}" dt="2023-08-03T11:37:15.084" v="114" actId="478"/>
          <ac:cxnSpMkLst>
            <pc:docMk/>
            <pc:sldMk cId="2542065065" sldId="477"/>
            <ac:cxnSpMk id="100" creationId="{9A27652C-3E02-464E-8A94-83B68CD1F125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101" creationId="{39F6238D-8190-9184-9C8E-14FE2DC7D73A}"/>
          </ac:cxnSpMkLst>
        </pc:cxnChg>
        <pc:cxnChg chg="del">
          <ac:chgData name="Francisco Ortiz - Beka Finance" userId="17fc0672-9b28-497e-9f7f-4c3b7561c768" providerId="ADAL" clId="{4CE59101-6820-4584-9CD9-2ED30E8CC042}" dt="2023-08-03T11:22:54.020" v="37" actId="478"/>
          <ac:cxnSpMkLst>
            <pc:docMk/>
            <pc:sldMk cId="2542065065" sldId="477"/>
            <ac:cxnSpMk id="103" creationId="{5AAE8334-7D06-2DB4-EE08-26F1994D9FB5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111" creationId="{0DDE15B1-3813-C60D-FF9A-68CCC40EBEA8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114" creationId="{3D322E4D-E1AF-8814-6E5B-6BD3605DACEC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116" creationId="{1D54645B-3386-9215-5449-975F3B605541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117" creationId="{E086A8A5-C2C6-50DC-C50B-6260687CAF73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137" creationId="{F7B4842F-FF3D-2C00-F2F1-DF5F31EBB96A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138" creationId="{436D7854-171A-7DA9-8B9F-1511B733086B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139" creationId="{098BBC27-E289-654C-428F-DDD89786285F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140" creationId="{5AB76700-FF50-45EA-69DD-002F4E887B40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141" creationId="{0CA0FE9F-DA55-99DB-7C9D-07A44F456E6C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142" creationId="{FDB18453-21CF-E7F0-CE04-48C411FAE829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143" creationId="{EEB52DCA-0989-A3EB-8D85-A10F52FB6856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144" creationId="{7153F327-264B-5813-4A2C-536197C5F056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145" creationId="{64AE6CA7-FC88-763E-3B28-383B5D475C6C}"/>
          </ac:cxnSpMkLst>
        </pc:cxnChg>
        <pc:cxnChg chg="del">
          <ac:chgData name="Francisco Ortiz - Beka Finance" userId="17fc0672-9b28-497e-9f7f-4c3b7561c768" providerId="ADAL" clId="{4CE59101-6820-4584-9CD9-2ED30E8CC042}" dt="2023-08-03T11:37:38.469" v="121" actId="478"/>
          <ac:cxnSpMkLst>
            <pc:docMk/>
            <pc:sldMk cId="2542065065" sldId="477"/>
            <ac:cxnSpMk id="178" creationId="{CE5F7B05-2ED5-3ABD-A3A4-82E7C42E1BFB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180" creationId="{6746069C-4492-2E7F-04F3-AD8FBCF818BE}"/>
          </ac:cxnSpMkLst>
        </pc:cxnChg>
        <pc:cxnChg chg="del">
          <ac:chgData name="Francisco Ortiz - Beka Finance" userId="17fc0672-9b28-497e-9f7f-4c3b7561c768" providerId="ADAL" clId="{4CE59101-6820-4584-9CD9-2ED30E8CC042}" dt="2023-08-03T11:38:03.045" v="128" actId="478"/>
          <ac:cxnSpMkLst>
            <pc:docMk/>
            <pc:sldMk cId="2542065065" sldId="477"/>
            <ac:cxnSpMk id="223" creationId="{EBC2F7B6-CA0A-E819-F2F6-D94226753E51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246" creationId="{15C73C1A-ACEB-7015-2E99-66EC67F6C667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252" creationId="{254EB31E-7808-2FBF-AAE4-7A339AE6274B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258" creationId="{3705A3A9-45F4-8AF5-D1C6-9E72623BC1CA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266" creationId="{3E54EB89-6847-472E-6116-B5A69FCEEB23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268" creationId="{DB484AFF-2308-725A-CAB7-CBADF12B65E6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277" creationId="{C84EFABB-3586-0E58-181F-6B5E1606481A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278" creationId="{037D4668-D80F-18C9-4F4C-C4E8FA10A56A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363" creationId="{04723937-B022-BFB7-60E7-7CF18803361E}"/>
          </ac:cxnSpMkLst>
        </pc:cxnChg>
        <pc:cxnChg chg="mod">
          <ac:chgData name="Francisco Ortiz - Beka Finance" userId="17fc0672-9b28-497e-9f7f-4c3b7561c768" providerId="ADAL" clId="{4CE59101-6820-4584-9CD9-2ED30E8CC042}" dt="2023-08-03T11:37:07.430" v="113" actId="1038"/>
          <ac:cxnSpMkLst>
            <pc:docMk/>
            <pc:sldMk cId="2542065065" sldId="477"/>
            <ac:cxnSpMk id="442" creationId="{09A73C24-57D5-BA3C-7459-F65BAB6A13D6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444" creationId="{AC615C14-96CF-CE84-F2EA-B20648A66B43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505" creationId="{0FFC5E67-A5F0-B27E-8537-870CF540FF16}"/>
          </ac:cxnSpMkLst>
        </pc:cxnChg>
        <pc:cxnChg chg="del">
          <ac:chgData name="Francisco Ortiz - Beka Finance" userId="17fc0672-9b28-497e-9f7f-4c3b7561c768" providerId="ADAL" clId="{4CE59101-6820-4584-9CD9-2ED30E8CC042}" dt="2023-08-03T11:22:56.361" v="38" actId="478"/>
          <ac:cxnSpMkLst>
            <pc:docMk/>
            <pc:sldMk cId="2542065065" sldId="477"/>
            <ac:cxnSpMk id="609" creationId="{CFADBC9D-3F4D-0036-7529-030311F8221C}"/>
          </ac:cxnSpMkLst>
        </pc:cxnChg>
        <pc:cxnChg chg="del">
          <ac:chgData name="Francisco Ortiz - Beka Finance" userId="17fc0672-9b28-497e-9f7f-4c3b7561c768" providerId="ADAL" clId="{4CE59101-6820-4584-9CD9-2ED30E8CC042}" dt="2023-08-03T11:23:13.949" v="47" actId="478"/>
          <ac:cxnSpMkLst>
            <pc:docMk/>
            <pc:sldMk cId="2542065065" sldId="477"/>
            <ac:cxnSpMk id="621" creationId="{5713B885-DE95-729E-CED8-58984C14FA5C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623" creationId="{AC60083C-9724-7A28-FBB3-8C7451476469}"/>
          </ac:cxnSpMkLst>
        </pc:cxnChg>
        <pc:cxnChg chg="del">
          <ac:chgData name="Francisco Ortiz - Beka Finance" userId="17fc0672-9b28-497e-9f7f-4c3b7561c768" providerId="ADAL" clId="{4CE59101-6820-4584-9CD9-2ED30E8CC042}" dt="2023-08-03T11:22:51.169" v="36" actId="478"/>
          <ac:cxnSpMkLst>
            <pc:docMk/>
            <pc:sldMk cId="2542065065" sldId="477"/>
            <ac:cxnSpMk id="631" creationId="{8F047DD3-0FBB-B941-5F01-DC8EA7365FE9}"/>
          </ac:cxnSpMkLst>
        </pc:cxnChg>
        <pc:cxnChg chg="del">
          <ac:chgData name="Francisco Ortiz - Beka Finance" userId="17fc0672-9b28-497e-9f7f-4c3b7561c768" providerId="ADAL" clId="{4CE59101-6820-4584-9CD9-2ED30E8CC042}" dt="2023-08-03T11:22:54.020" v="37" actId="478"/>
          <ac:cxnSpMkLst>
            <pc:docMk/>
            <pc:sldMk cId="2542065065" sldId="477"/>
            <ac:cxnSpMk id="635" creationId="{7752B337-0359-6D65-7CEF-C53B4E1DACDF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637" creationId="{E5CBDEA0-7B78-FFB4-94AD-3D835EB3CB4C}"/>
          </ac:cxnSpMkLst>
        </pc:cxnChg>
        <pc:cxnChg chg="del">
          <ac:chgData name="Francisco Ortiz - Beka Finance" userId="17fc0672-9b28-497e-9f7f-4c3b7561c768" providerId="ADAL" clId="{4CE59101-6820-4584-9CD9-2ED30E8CC042}" dt="2023-08-03T11:23:06.974" v="45" actId="478"/>
          <ac:cxnSpMkLst>
            <pc:docMk/>
            <pc:sldMk cId="2542065065" sldId="477"/>
            <ac:cxnSpMk id="643" creationId="{437C8B19-E40C-8F87-DF96-3994303E25D4}"/>
          </ac:cxnSpMkLst>
        </pc:cxnChg>
      </pc:sldChg>
      <pc:sldChg chg="addSp delSp modSp mod">
        <pc:chgData name="Francisco Ortiz - Beka Finance" userId="17fc0672-9b28-497e-9f7f-4c3b7561c768" providerId="ADAL" clId="{4CE59101-6820-4584-9CD9-2ED30E8CC042}" dt="2023-08-03T12:35:16.745" v="396" actId="14100"/>
        <pc:sldMkLst>
          <pc:docMk/>
          <pc:sldMk cId="3246831304" sldId="478"/>
        </pc:sldMkLst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4" creationId="{BF62AC32-634F-60F5-6247-E22B07603478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6" creationId="{7DAF93AA-3400-38A2-B0AC-8D09A02F3E1F}"/>
          </ac:spMkLst>
        </pc:spChg>
        <pc:spChg chg="del mod">
          <ac:chgData name="Francisco Ortiz - Beka Finance" userId="17fc0672-9b28-497e-9f7f-4c3b7561c768" providerId="ADAL" clId="{4CE59101-6820-4584-9CD9-2ED30E8CC042}" dt="2023-08-03T11:22:35.227" v="23" actId="478"/>
          <ac:spMkLst>
            <pc:docMk/>
            <pc:sldMk cId="3246831304" sldId="478"/>
            <ac:spMk id="16" creationId="{F8BF2EAE-B52B-0D5A-099A-CE7B84CE5847}"/>
          </ac:spMkLst>
        </pc:spChg>
        <pc:spChg chg="del">
          <ac:chgData name="Francisco Ortiz - Beka Finance" userId="17fc0672-9b28-497e-9f7f-4c3b7561c768" providerId="ADAL" clId="{4CE59101-6820-4584-9CD9-2ED30E8CC042}" dt="2023-08-03T11:22:02.366" v="2" actId="478"/>
          <ac:spMkLst>
            <pc:docMk/>
            <pc:sldMk cId="3246831304" sldId="478"/>
            <ac:spMk id="24" creationId="{D605BD16-5CF9-D58B-27C5-A92AB66FC537}"/>
          </ac:spMkLst>
        </pc:spChg>
        <pc:spChg chg="mod">
          <ac:chgData name="Francisco Ortiz - Beka Finance" userId="17fc0672-9b28-497e-9f7f-4c3b7561c768" providerId="ADAL" clId="{4CE59101-6820-4584-9CD9-2ED30E8CC042}" dt="2023-08-03T11:22:36.582" v="25" actId="6549"/>
          <ac:spMkLst>
            <pc:docMk/>
            <pc:sldMk cId="3246831304" sldId="478"/>
            <ac:spMk id="33" creationId="{9D92BC78-ECC2-6882-66E9-C727F007B97F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42" creationId="{43636905-1FDE-9116-8B97-26BB19439A81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43" creationId="{53764D60-31E2-2E62-E400-41EB26A44FFA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44" creationId="{99244888-7E47-1D2D-97F7-1ACC679D7004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45" creationId="{2A03C9E0-B87C-DA74-A1B8-271D3B1FAF2B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49" creationId="{5278DD09-9496-1073-E3EB-D91D7B23D147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50" creationId="{961AF57D-AD0A-0923-D984-B6BA8E62A079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51" creationId="{8AE7315B-2C69-42FA-E638-1FB50DF93F45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52" creationId="{F7091F57-3B80-2647-5831-A242DF13C94C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53" creationId="{272F0A1D-8B44-CFB3-DB13-F0CB092CF7B9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55" creationId="{9033753F-0D47-2C08-4F3D-934B266791E3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56" creationId="{661A4F46-73D2-2B57-76BA-BD566DFCC622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57" creationId="{61A5B70A-CED2-4B2E-D830-A594563362EF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58" creationId="{C2ED1E61-C5CF-6D88-D6D6-302D76CAE7E6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59" creationId="{35BC1DDC-616A-B70B-2122-099D91895831}"/>
          </ac:spMkLst>
        </pc:spChg>
        <pc:spChg chg="del">
          <ac:chgData name="Francisco Ortiz - Beka Finance" userId="17fc0672-9b28-497e-9f7f-4c3b7561c768" providerId="ADAL" clId="{4CE59101-6820-4584-9CD9-2ED30E8CC042}" dt="2023-08-03T11:22:02.366" v="2" actId="478"/>
          <ac:spMkLst>
            <pc:docMk/>
            <pc:sldMk cId="3246831304" sldId="478"/>
            <ac:spMk id="60" creationId="{7BA93DFD-793F-2E65-C7B4-ECCD61C17C61}"/>
          </ac:spMkLst>
        </pc:spChg>
        <pc:spChg chg="del">
          <ac:chgData name="Francisco Ortiz - Beka Finance" userId="17fc0672-9b28-497e-9f7f-4c3b7561c768" providerId="ADAL" clId="{4CE59101-6820-4584-9CD9-2ED30E8CC042}" dt="2023-08-03T11:22:02.366" v="2" actId="478"/>
          <ac:spMkLst>
            <pc:docMk/>
            <pc:sldMk cId="3246831304" sldId="478"/>
            <ac:spMk id="61" creationId="{398D8696-C5B8-A2D4-D89F-4804913ECA82}"/>
          </ac:spMkLst>
        </pc:spChg>
        <pc:spChg chg="del">
          <ac:chgData name="Francisco Ortiz - Beka Finance" userId="17fc0672-9b28-497e-9f7f-4c3b7561c768" providerId="ADAL" clId="{4CE59101-6820-4584-9CD9-2ED30E8CC042}" dt="2023-08-03T11:22:37.224" v="26" actId="478"/>
          <ac:spMkLst>
            <pc:docMk/>
            <pc:sldMk cId="3246831304" sldId="478"/>
            <ac:spMk id="62" creationId="{D58E5F77-3ED1-4267-0FFF-94F2F31C4810}"/>
          </ac:spMkLst>
        </pc:spChg>
        <pc:spChg chg="mod">
          <ac:chgData name="Francisco Ortiz - Beka Finance" userId="17fc0672-9b28-497e-9f7f-4c3b7561c768" providerId="ADAL" clId="{4CE59101-6820-4584-9CD9-2ED30E8CC042}" dt="2023-08-03T12:07:14.505" v="270" actId="1038"/>
          <ac:spMkLst>
            <pc:docMk/>
            <pc:sldMk cId="3246831304" sldId="478"/>
            <ac:spMk id="218" creationId="{2789745E-7F6D-4955-82D5-4570BD67B8D6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257" creationId="{EDFAC0BC-BC32-8475-C560-E757CC7E4C3B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258" creationId="{F8C40A70-27B2-F4C1-DA5A-958CE1CA1B0B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259" creationId="{A8AE16FB-398B-F844-4D10-BCD46C56FC86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260" creationId="{6780E550-6322-1CBB-12B3-7FE8B0FB050F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261" creationId="{5442A602-FB64-4684-5FBD-63A98BD7F404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262" creationId="{F70BF587-B209-78B7-9956-1325DBB05D8F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263" creationId="{CF1786B2-2738-1B62-073D-7B6E8D9833FE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264" creationId="{F476040D-D765-4FBE-169C-4E3597C05402}"/>
          </ac:spMkLst>
        </pc:spChg>
        <pc:spChg chg="del">
          <ac:chgData name="Francisco Ortiz - Beka Finance" userId="17fc0672-9b28-497e-9f7f-4c3b7561c768" providerId="ADAL" clId="{4CE59101-6820-4584-9CD9-2ED30E8CC042}" dt="2023-08-03T11:22:23.077" v="13" actId="478"/>
          <ac:spMkLst>
            <pc:docMk/>
            <pc:sldMk cId="3246831304" sldId="478"/>
            <ac:spMk id="283" creationId="{569C6DB0-DF35-89BC-3D34-C8FCE6D0B5BB}"/>
          </ac:spMkLst>
        </pc:spChg>
        <pc:spChg chg="del">
          <ac:chgData name="Francisco Ortiz - Beka Finance" userId="17fc0672-9b28-497e-9f7f-4c3b7561c768" providerId="ADAL" clId="{4CE59101-6820-4584-9CD9-2ED30E8CC042}" dt="2023-08-03T11:22:23.077" v="13" actId="478"/>
          <ac:spMkLst>
            <pc:docMk/>
            <pc:sldMk cId="3246831304" sldId="478"/>
            <ac:spMk id="284" creationId="{1C4CBE48-DA6F-3A71-A7BA-66F79010F298}"/>
          </ac:spMkLst>
        </pc:spChg>
        <pc:spChg chg="del">
          <ac:chgData name="Francisco Ortiz - Beka Finance" userId="17fc0672-9b28-497e-9f7f-4c3b7561c768" providerId="ADAL" clId="{4CE59101-6820-4584-9CD9-2ED30E8CC042}" dt="2023-08-03T11:22:23.077" v="13" actId="478"/>
          <ac:spMkLst>
            <pc:docMk/>
            <pc:sldMk cId="3246831304" sldId="478"/>
            <ac:spMk id="285" creationId="{4E09D875-F94C-F21D-355B-4CD9C6AD9204}"/>
          </ac:spMkLst>
        </pc:spChg>
        <pc:spChg chg="del">
          <ac:chgData name="Francisco Ortiz - Beka Finance" userId="17fc0672-9b28-497e-9f7f-4c3b7561c768" providerId="ADAL" clId="{4CE59101-6820-4584-9CD9-2ED30E8CC042}" dt="2023-08-03T11:22:23.077" v="13" actId="478"/>
          <ac:spMkLst>
            <pc:docMk/>
            <pc:sldMk cId="3246831304" sldId="478"/>
            <ac:spMk id="286" creationId="{59C666CF-25E3-9DBE-C31D-54E6205EFE9D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344" creationId="{241D1B42-F9C0-FAEB-DE28-DEDD01419234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348" creationId="{37AB38D5-A75B-8AE9-6DC7-62AD34E2AB73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352" creationId="{330A49C1-115B-34F3-9866-0159FD30187D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353" creationId="{3601904B-2D23-DF3D-D19F-6B2FC1A2FEAC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354" creationId="{B193F36C-5476-B26B-4EE0-8B66F273BEAE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355" creationId="{FB8B149D-2CC4-A0EF-1063-30F32F01E0AE}"/>
          </ac:spMkLst>
        </pc:spChg>
        <pc:spChg chg="del">
          <ac:chgData name="Francisco Ortiz - Beka Finance" userId="17fc0672-9b28-497e-9f7f-4c3b7561c768" providerId="ADAL" clId="{4CE59101-6820-4584-9CD9-2ED30E8CC042}" dt="2023-08-03T11:22:02.366" v="2" actId="478"/>
          <ac:spMkLst>
            <pc:docMk/>
            <pc:sldMk cId="3246831304" sldId="478"/>
            <ac:spMk id="356" creationId="{71CAF900-8C9E-5695-223A-8679E4E9DCEA}"/>
          </ac:spMkLst>
        </pc:spChg>
        <pc:spChg chg="mod">
          <ac:chgData name="Francisco Ortiz - Beka Finance" userId="17fc0672-9b28-497e-9f7f-4c3b7561c768" providerId="ADAL" clId="{4CE59101-6820-4584-9CD9-2ED30E8CC042}" dt="2023-08-03T12:09:21.580" v="294" actId="14100"/>
          <ac:spMkLst>
            <pc:docMk/>
            <pc:sldMk cId="3246831304" sldId="478"/>
            <ac:spMk id="358" creationId="{C5DB9F1E-A752-D8DE-DBA8-466E0B372F9B}"/>
          </ac:spMkLst>
        </pc:spChg>
        <pc:spChg chg="del">
          <ac:chgData name="Francisco Ortiz - Beka Finance" userId="17fc0672-9b28-497e-9f7f-4c3b7561c768" providerId="ADAL" clId="{4CE59101-6820-4584-9CD9-2ED30E8CC042}" dt="2023-08-03T11:22:11.577" v="10" actId="478"/>
          <ac:spMkLst>
            <pc:docMk/>
            <pc:sldMk cId="3246831304" sldId="478"/>
            <ac:spMk id="359" creationId="{A83446FF-B2D0-313B-2B57-09A9B1F34668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362" creationId="{59BA807F-39CA-BE4E-8175-B1A3B839C942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363" creationId="{3255AA39-3457-B915-9981-71C24B69ADF3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364" creationId="{1E69D0B0-8DF1-5580-1E02-5487F7133527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365" creationId="{D934ABA7-7058-D1A4-8561-CED2B796FC86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366" creationId="{BD61D240-2AE5-6D2F-6DE6-F497185A2C3A}"/>
          </ac:spMkLst>
        </pc:spChg>
        <pc:spChg chg="del">
          <ac:chgData name="Francisco Ortiz - Beka Finance" userId="17fc0672-9b28-497e-9f7f-4c3b7561c768" providerId="ADAL" clId="{4CE59101-6820-4584-9CD9-2ED30E8CC042}" dt="2023-08-03T11:22:05.852" v="3" actId="478"/>
          <ac:spMkLst>
            <pc:docMk/>
            <pc:sldMk cId="3246831304" sldId="478"/>
            <ac:spMk id="367" creationId="{DD7FAB1B-BDC8-E269-1784-CC2BA05C9BBA}"/>
          </ac:spMkLst>
        </pc:spChg>
        <pc:spChg chg="del">
          <ac:chgData name="Francisco Ortiz - Beka Finance" userId="17fc0672-9b28-497e-9f7f-4c3b7561c768" providerId="ADAL" clId="{4CE59101-6820-4584-9CD9-2ED30E8CC042}" dt="2023-08-03T11:22:02.366" v="2" actId="478"/>
          <ac:spMkLst>
            <pc:docMk/>
            <pc:sldMk cId="3246831304" sldId="478"/>
            <ac:spMk id="368" creationId="{B54543D5-9FB4-0AA7-6E1F-918453C1B9B5}"/>
          </ac:spMkLst>
        </pc:spChg>
        <pc:spChg chg="del">
          <ac:chgData name="Francisco Ortiz - Beka Finance" userId="17fc0672-9b28-497e-9f7f-4c3b7561c768" providerId="ADAL" clId="{4CE59101-6820-4584-9CD9-2ED30E8CC042}" dt="2023-08-03T11:22:07.288" v="5" actId="478"/>
          <ac:spMkLst>
            <pc:docMk/>
            <pc:sldMk cId="3246831304" sldId="478"/>
            <ac:spMk id="369" creationId="{4886AA59-0DDD-EE29-EDAE-CDAF44A21947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370" creationId="{408EABE9-B7B8-461A-F2B1-9A084BA1D7D6}"/>
          </ac:spMkLst>
        </pc:spChg>
        <pc:spChg chg="mod">
          <ac:chgData name="Francisco Ortiz - Beka Finance" userId="17fc0672-9b28-497e-9f7f-4c3b7561c768" providerId="ADAL" clId="{4CE59101-6820-4584-9CD9-2ED30E8CC042}" dt="2023-08-03T11:22:10.738" v="9" actId="6549"/>
          <ac:spMkLst>
            <pc:docMk/>
            <pc:sldMk cId="3246831304" sldId="478"/>
            <ac:spMk id="373" creationId="{CEB7C1B4-3FAB-45CD-D2EF-DBAEBBE358AD}"/>
          </ac:spMkLst>
        </pc:spChg>
        <pc:spChg chg="mod">
          <ac:chgData name="Francisco Ortiz - Beka Finance" userId="17fc0672-9b28-497e-9f7f-4c3b7561c768" providerId="ADAL" clId="{4CE59101-6820-4584-9CD9-2ED30E8CC042}" dt="2023-08-03T11:22:09.990" v="8" actId="6549"/>
          <ac:spMkLst>
            <pc:docMk/>
            <pc:sldMk cId="3246831304" sldId="478"/>
            <ac:spMk id="374" creationId="{8556741D-FBB6-6A94-E0FF-0BBAC0142F8B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377" creationId="{CA8D1685-4EB1-7CC0-2A4E-735913D4C485}"/>
          </ac:spMkLst>
        </pc:spChg>
        <pc:spChg chg="del mod">
          <ac:chgData name="Francisco Ortiz - Beka Finance" userId="17fc0672-9b28-497e-9f7f-4c3b7561c768" providerId="ADAL" clId="{4CE59101-6820-4584-9CD9-2ED30E8CC042}" dt="2023-08-03T11:22:08.637" v="7" actId="478"/>
          <ac:spMkLst>
            <pc:docMk/>
            <pc:sldMk cId="3246831304" sldId="478"/>
            <ac:spMk id="379" creationId="{90C8FEC4-5E5D-8033-4740-FA2BBAA7345A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393" creationId="{DE962AE5-782C-325E-58BF-101D9A0F3841}"/>
          </ac:spMkLst>
        </pc:spChg>
        <pc:spChg chg="del">
          <ac:chgData name="Francisco Ortiz - Beka Finance" userId="17fc0672-9b28-497e-9f7f-4c3b7561c768" providerId="ADAL" clId="{4CE59101-6820-4584-9CD9-2ED30E8CC042}" dt="2023-08-03T11:22:23.077" v="13" actId="478"/>
          <ac:spMkLst>
            <pc:docMk/>
            <pc:sldMk cId="3246831304" sldId="478"/>
            <ac:spMk id="432" creationId="{AF099677-4371-893D-F0AF-A003B5E03080}"/>
          </ac:spMkLst>
        </pc:spChg>
        <pc:spChg chg="del">
          <ac:chgData name="Francisco Ortiz - Beka Finance" userId="17fc0672-9b28-497e-9f7f-4c3b7561c768" providerId="ADAL" clId="{4CE59101-6820-4584-9CD9-2ED30E8CC042}" dt="2023-08-03T11:22:23.077" v="13" actId="478"/>
          <ac:spMkLst>
            <pc:docMk/>
            <pc:sldMk cId="3246831304" sldId="478"/>
            <ac:spMk id="433" creationId="{762C7547-00EE-A65F-1DE6-39A066AA82F3}"/>
          </ac:spMkLst>
        </pc:spChg>
        <pc:spChg chg="del mod">
          <ac:chgData name="Francisco Ortiz - Beka Finance" userId="17fc0672-9b28-497e-9f7f-4c3b7561c768" providerId="ADAL" clId="{4CE59101-6820-4584-9CD9-2ED30E8CC042}" dt="2023-08-03T11:22:42.999" v="34" actId="478"/>
          <ac:spMkLst>
            <pc:docMk/>
            <pc:sldMk cId="3246831304" sldId="478"/>
            <ac:spMk id="513" creationId="{17FB8668-F2DE-AA39-35E2-38FF59BB72F1}"/>
          </ac:spMkLst>
        </pc:spChg>
        <pc:spChg chg="mod">
          <ac:chgData name="Francisco Ortiz - Beka Finance" userId="17fc0672-9b28-497e-9f7f-4c3b7561c768" providerId="ADAL" clId="{4CE59101-6820-4584-9CD9-2ED30E8CC042}" dt="2023-08-03T11:22:40.105" v="31" actId="6549"/>
          <ac:spMkLst>
            <pc:docMk/>
            <pc:sldMk cId="3246831304" sldId="478"/>
            <ac:spMk id="515" creationId="{434D800E-7DA5-FE3C-51A5-F2530B704508}"/>
          </ac:spMkLst>
        </pc:spChg>
        <pc:spChg chg="del mod">
          <ac:chgData name="Francisco Ortiz - Beka Finance" userId="17fc0672-9b28-497e-9f7f-4c3b7561c768" providerId="ADAL" clId="{4CE59101-6820-4584-9CD9-2ED30E8CC042}" dt="2023-08-03T11:22:43.723" v="35" actId="478"/>
          <ac:spMkLst>
            <pc:docMk/>
            <pc:sldMk cId="3246831304" sldId="478"/>
            <ac:spMk id="517" creationId="{5FF0A872-05E3-2DB7-CE50-1FDF9CFDE4F5}"/>
          </ac:spMkLst>
        </pc:spChg>
        <pc:spChg chg="del">
          <ac:chgData name="Francisco Ortiz - Beka Finance" userId="17fc0672-9b28-497e-9f7f-4c3b7561c768" providerId="ADAL" clId="{4CE59101-6820-4584-9CD9-2ED30E8CC042}" dt="2023-08-03T11:22:38.834" v="29" actId="478"/>
          <ac:spMkLst>
            <pc:docMk/>
            <pc:sldMk cId="3246831304" sldId="478"/>
            <ac:spMk id="519" creationId="{20FDAA92-54D9-4D3F-AA16-DFE2B07F24D2}"/>
          </ac:spMkLst>
        </pc:spChg>
        <pc:spChg chg="del">
          <ac:chgData name="Francisco Ortiz - Beka Finance" userId="17fc0672-9b28-497e-9f7f-4c3b7561c768" providerId="ADAL" clId="{4CE59101-6820-4584-9CD9-2ED30E8CC042}" dt="2023-08-03T11:22:38.349" v="28" actId="478"/>
          <ac:spMkLst>
            <pc:docMk/>
            <pc:sldMk cId="3246831304" sldId="478"/>
            <ac:spMk id="521" creationId="{CA0248D9-0364-B219-3534-32FFDE3A5C6F}"/>
          </ac:spMkLst>
        </pc:spChg>
        <pc:spChg chg="del">
          <ac:chgData name="Francisco Ortiz - Beka Finance" userId="17fc0672-9b28-497e-9f7f-4c3b7561c768" providerId="ADAL" clId="{4CE59101-6820-4584-9CD9-2ED30E8CC042}" dt="2023-08-03T11:22:37.764" v="27" actId="478"/>
          <ac:spMkLst>
            <pc:docMk/>
            <pc:sldMk cId="3246831304" sldId="478"/>
            <ac:spMk id="523" creationId="{5808C2CD-8005-9D85-65DA-5F036B07B5DA}"/>
          </ac:spMkLst>
        </pc:spChg>
        <pc:spChg chg="mod">
          <ac:chgData name="Francisco Ortiz - Beka Finance" userId="17fc0672-9b28-497e-9f7f-4c3b7561c768" providerId="ADAL" clId="{4CE59101-6820-4584-9CD9-2ED30E8CC042}" dt="2023-08-03T12:07:17.019" v="272" actId="1036"/>
          <ac:spMkLst>
            <pc:docMk/>
            <pc:sldMk cId="3246831304" sldId="478"/>
            <ac:spMk id="552" creationId="{006D8B5C-A3A9-CA55-53BE-0C7507389F01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574" creationId="{F7A3F03D-93F0-826D-3C72-B3E7860032DC}"/>
          </ac:spMkLst>
        </pc:spChg>
        <pc:spChg chg="del">
          <ac:chgData name="Francisco Ortiz - Beka Finance" userId="17fc0672-9b28-497e-9f7f-4c3b7561c768" providerId="ADAL" clId="{4CE59101-6820-4584-9CD9-2ED30E8CC042}" dt="2023-08-03T11:22:26.730" v="16" actId="478"/>
          <ac:spMkLst>
            <pc:docMk/>
            <pc:sldMk cId="3246831304" sldId="478"/>
            <ac:spMk id="777" creationId="{60070345-B632-DE84-A8C8-265EDE47EE9D}"/>
          </ac:spMkLst>
        </pc:spChg>
        <pc:spChg chg="del">
          <ac:chgData name="Francisco Ortiz - Beka Finance" userId="17fc0672-9b28-497e-9f7f-4c3b7561c768" providerId="ADAL" clId="{4CE59101-6820-4584-9CD9-2ED30E8CC042}" dt="2023-08-03T11:22:27.331" v="17" actId="478"/>
          <ac:spMkLst>
            <pc:docMk/>
            <pc:sldMk cId="3246831304" sldId="478"/>
            <ac:spMk id="778" creationId="{94D03E06-250A-E1A3-6A55-808266AF2806}"/>
          </ac:spMkLst>
        </pc:spChg>
        <pc:spChg chg="del">
          <ac:chgData name="Francisco Ortiz - Beka Finance" userId="17fc0672-9b28-497e-9f7f-4c3b7561c768" providerId="ADAL" clId="{4CE59101-6820-4584-9CD9-2ED30E8CC042}" dt="2023-08-03T11:22:23.077" v="13" actId="478"/>
          <ac:spMkLst>
            <pc:docMk/>
            <pc:sldMk cId="3246831304" sldId="478"/>
            <ac:spMk id="779" creationId="{59897AF7-4267-2923-0838-C5E85DA7421B}"/>
          </ac:spMkLst>
        </pc:spChg>
        <pc:spChg chg="del">
          <ac:chgData name="Francisco Ortiz - Beka Finance" userId="17fc0672-9b28-497e-9f7f-4c3b7561c768" providerId="ADAL" clId="{4CE59101-6820-4584-9CD9-2ED30E8CC042}" dt="2023-08-03T11:22:23.077" v="13" actId="478"/>
          <ac:spMkLst>
            <pc:docMk/>
            <pc:sldMk cId="3246831304" sldId="478"/>
            <ac:spMk id="780" creationId="{CE3A2B2D-6826-913D-AB71-D2BB15BFDE1A}"/>
          </ac:spMkLst>
        </pc:spChg>
        <pc:spChg chg="del">
          <ac:chgData name="Francisco Ortiz - Beka Finance" userId="17fc0672-9b28-497e-9f7f-4c3b7561c768" providerId="ADAL" clId="{4CE59101-6820-4584-9CD9-2ED30E8CC042}" dt="2023-08-03T11:22:23.077" v="13" actId="478"/>
          <ac:spMkLst>
            <pc:docMk/>
            <pc:sldMk cId="3246831304" sldId="478"/>
            <ac:spMk id="786" creationId="{0D2BEB4B-BAEB-4ED9-643C-EDAFA2F7D988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833" creationId="{7BFCE764-77E8-7F73-D864-C4F2C031D91F}"/>
          </ac:spMkLst>
        </pc:spChg>
        <pc:spChg chg="del">
          <ac:chgData name="Francisco Ortiz - Beka Finance" userId="17fc0672-9b28-497e-9f7f-4c3b7561c768" providerId="ADAL" clId="{4CE59101-6820-4584-9CD9-2ED30E8CC042}" dt="2023-08-03T11:21:57.836" v="1" actId="478"/>
          <ac:spMkLst>
            <pc:docMk/>
            <pc:sldMk cId="3246831304" sldId="478"/>
            <ac:spMk id="834" creationId="{F2F20D7E-B0C5-A12F-6936-A0B3C5728DD4}"/>
          </ac:spMkLst>
        </pc:spChg>
        <pc:spChg chg="del">
          <ac:chgData name="Francisco Ortiz - Beka Finance" userId="17fc0672-9b28-497e-9f7f-4c3b7561c768" providerId="ADAL" clId="{4CE59101-6820-4584-9CD9-2ED30E8CC042}" dt="2023-08-03T11:22:02.366" v="2" actId="478"/>
          <ac:spMkLst>
            <pc:docMk/>
            <pc:sldMk cId="3246831304" sldId="478"/>
            <ac:spMk id="835" creationId="{A9346AED-281E-49AF-94C6-2224686FC709}"/>
          </ac:spMkLst>
        </pc:spChg>
        <pc:spChg chg="del">
          <ac:chgData name="Francisco Ortiz - Beka Finance" userId="17fc0672-9b28-497e-9f7f-4c3b7561c768" providerId="ADAL" clId="{4CE59101-6820-4584-9CD9-2ED30E8CC042}" dt="2023-08-03T11:22:13.865" v="11" actId="478"/>
          <ac:spMkLst>
            <pc:docMk/>
            <pc:sldMk cId="3246831304" sldId="478"/>
            <ac:spMk id="836" creationId="{83306F7C-133B-F02D-9808-0DDFB6E7E4DF}"/>
          </ac:spMkLst>
        </pc:spChg>
        <pc:spChg chg="del">
          <ac:chgData name="Francisco Ortiz - Beka Finance" userId="17fc0672-9b28-497e-9f7f-4c3b7561c768" providerId="ADAL" clId="{4CE59101-6820-4584-9CD9-2ED30E8CC042}" dt="2023-08-03T11:22:02.366" v="2" actId="478"/>
          <ac:spMkLst>
            <pc:docMk/>
            <pc:sldMk cId="3246831304" sldId="478"/>
            <ac:spMk id="838" creationId="{E5273D15-A5ED-20C3-4ABC-095D3BF43992}"/>
          </ac:spMkLst>
        </pc:spChg>
        <pc:spChg chg="del">
          <ac:chgData name="Francisco Ortiz - Beka Finance" userId="17fc0672-9b28-497e-9f7f-4c3b7561c768" providerId="ADAL" clId="{4CE59101-6820-4584-9CD9-2ED30E8CC042}" dt="2023-08-03T11:22:16.470" v="12" actId="478"/>
          <ac:spMkLst>
            <pc:docMk/>
            <pc:sldMk cId="3246831304" sldId="478"/>
            <ac:spMk id="889" creationId="{18932645-12C5-8083-F7B7-1F22F9A11F9D}"/>
          </ac:spMkLst>
        </pc:spChg>
        <pc:spChg chg="del mod">
          <ac:chgData name="Francisco Ortiz - Beka Finance" userId="17fc0672-9b28-497e-9f7f-4c3b7561c768" providerId="ADAL" clId="{4CE59101-6820-4584-9CD9-2ED30E8CC042}" dt="2023-08-03T11:22:30.889" v="20" actId="478"/>
          <ac:spMkLst>
            <pc:docMk/>
            <pc:sldMk cId="3246831304" sldId="478"/>
            <ac:spMk id="890" creationId="{F958A39F-91B3-45DE-5646-47CB4FBB6A98}"/>
          </ac:spMkLst>
        </pc:spChg>
        <pc:spChg chg="del">
          <ac:chgData name="Francisco Ortiz - Beka Finance" userId="17fc0672-9b28-497e-9f7f-4c3b7561c768" providerId="ADAL" clId="{4CE59101-6820-4584-9CD9-2ED30E8CC042}" dt="2023-08-03T11:22:35.961" v="24" actId="478"/>
          <ac:spMkLst>
            <pc:docMk/>
            <pc:sldMk cId="3246831304" sldId="478"/>
            <ac:spMk id="898" creationId="{B0DF4838-769B-3E39-BAFC-8CE5F5728090}"/>
          </ac:spMkLst>
        </pc:spChg>
        <pc:spChg chg="mod">
          <ac:chgData name="Francisco Ortiz - Beka Finance" userId="17fc0672-9b28-497e-9f7f-4c3b7561c768" providerId="ADAL" clId="{4CE59101-6820-4584-9CD9-2ED30E8CC042}" dt="2023-08-03T12:08:09.467" v="283" actId="1076"/>
          <ac:spMkLst>
            <pc:docMk/>
            <pc:sldMk cId="3246831304" sldId="478"/>
            <ac:spMk id="939" creationId="{B43E40AF-20F8-2637-2C44-C0E3D46E5717}"/>
          </ac:spMkLst>
        </pc:spChg>
        <pc:spChg chg="del">
          <ac:chgData name="Francisco Ortiz - Beka Finance" userId="17fc0672-9b28-497e-9f7f-4c3b7561c768" providerId="ADAL" clId="{4CE59101-6820-4584-9CD9-2ED30E8CC042}" dt="2023-08-03T11:22:23.077" v="13" actId="478"/>
          <ac:spMkLst>
            <pc:docMk/>
            <pc:sldMk cId="3246831304" sldId="478"/>
            <ac:spMk id="951" creationId="{A9ABE95C-23D6-2B53-48EF-11D93E8C7C92}"/>
          </ac:spMkLst>
        </pc:spChg>
        <pc:graphicFrameChg chg="del">
          <ac:chgData name="Francisco Ortiz - Beka Finance" userId="17fc0672-9b28-497e-9f7f-4c3b7561c768" providerId="ADAL" clId="{4CE59101-6820-4584-9CD9-2ED30E8CC042}" dt="2023-08-03T11:22:02.366" v="2" actId="478"/>
          <ac:graphicFrameMkLst>
            <pc:docMk/>
            <pc:sldMk cId="3246831304" sldId="478"/>
            <ac:graphicFrameMk id="8" creationId="{73EEF690-4461-7090-E974-9646A81AAA46}"/>
          </ac:graphicFrameMkLst>
        </pc:graphicFrameChg>
        <pc:graphicFrameChg chg="del mod">
          <ac:chgData name="Francisco Ortiz - Beka Finance" userId="17fc0672-9b28-497e-9f7f-4c3b7561c768" providerId="ADAL" clId="{4CE59101-6820-4584-9CD9-2ED30E8CC042}" dt="2023-08-03T11:22:26.116" v="15" actId="478"/>
          <ac:graphicFrameMkLst>
            <pc:docMk/>
            <pc:sldMk cId="3246831304" sldId="478"/>
            <ac:graphicFrameMk id="20" creationId="{32E8D19F-3CAC-B4B3-15DC-7BFB6185C03F}"/>
          </ac:graphicFrameMkLst>
        </pc:graphicFrameChg>
        <pc:graphicFrameChg chg="del">
          <ac:chgData name="Francisco Ortiz - Beka Finance" userId="17fc0672-9b28-497e-9f7f-4c3b7561c768" providerId="ADAL" clId="{4CE59101-6820-4584-9CD9-2ED30E8CC042}" dt="2023-08-03T11:22:02.366" v="2" actId="478"/>
          <ac:graphicFrameMkLst>
            <pc:docMk/>
            <pc:sldMk cId="3246831304" sldId="478"/>
            <ac:graphicFrameMk id="26" creationId="{8D84B2DA-6825-830B-73DE-B107B1F70170}"/>
          </ac:graphicFrameMkLst>
        </pc:graphicFrameChg>
        <pc:picChg chg="add del mod">
          <ac:chgData name="Francisco Ortiz - Beka Finance" userId="17fc0672-9b28-497e-9f7f-4c3b7561c768" providerId="ADAL" clId="{4CE59101-6820-4584-9CD9-2ED30E8CC042}" dt="2023-08-03T12:28:59.799" v="386" actId="478"/>
          <ac:picMkLst>
            <pc:docMk/>
            <pc:sldMk cId="3246831304" sldId="478"/>
            <ac:picMk id="1026" creationId="{7B8FFBD5-4926-335C-C8F9-FEEF17889327}"/>
          </ac:picMkLst>
        </pc:picChg>
        <pc:picChg chg="add del mod">
          <ac:chgData name="Francisco Ortiz - Beka Finance" userId="17fc0672-9b28-497e-9f7f-4c3b7561c768" providerId="ADAL" clId="{4CE59101-6820-4584-9CD9-2ED30E8CC042}" dt="2023-08-03T12:33:46.544" v="393" actId="478"/>
          <ac:picMkLst>
            <pc:docMk/>
            <pc:sldMk cId="3246831304" sldId="478"/>
            <ac:picMk id="1028" creationId="{022D0F64-01FD-BB22-423D-9BA6D690E464}"/>
          </ac:picMkLst>
        </pc:picChg>
        <pc:picChg chg="add del mod">
          <ac:chgData name="Francisco Ortiz - Beka Finance" userId="17fc0672-9b28-497e-9f7f-4c3b7561c768" providerId="ADAL" clId="{4CE59101-6820-4584-9CD9-2ED30E8CC042}" dt="2023-08-03T12:02:37.675" v="141" actId="478"/>
          <ac:picMkLst>
            <pc:docMk/>
            <pc:sldMk cId="3246831304" sldId="478"/>
            <ac:picMk id="2050" creationId="{BA34E810-C3A1-A1FC-9DE7-0DC0F38181A9}"/>
          </ac:picMkLst>
        </pc:picChg>
        <pc:picChg chg="add del mod">
          <ac:chgData name="Francisco Ortiz - Beka Finance" userId="17fc0672-9b28-497e-9f7f-4c3b7561c768" providerId="ADAL" clId="{4CE59101-6820-4584-9CD9-2ED30E8CC042}" dt="2023-08-03T12:03:15.184" v="146" actId="478"/>
          <ac:picMkLst>
            <pc:docMk/>
            <pc:sldMk cId="3246831304" sldId="478"/>
            <ac:picMk id="2052" creationId="{FEA7E5A5-C97F-D253-6FFC-5F40F1A94DE0}"/>
          </ac:picMkLst>
        </pc:picChg>
        <pc:picChg chg="add del mod">
          <ac:chgData name="Francisco Ortiz - Beka Finance" userId="17fc0672-9b28-497e-9f7f-4c3b7561c768" providerId="ADAL" clId="{4CE59101-6820-4584-9CD9-2ED30E8CC042}" dt="2023-08-03T12:04:11.661" v="156" actId="478"/>
          <ac:picMkLst>
            <pc:docMk/>
            <pc:sldMk cId="3246831304" sldId="478"/>
            <ac:picMk id="2054" creationId="{DB861199-7D14-7401-EA92-8868B9DF0E65}"/>
          </ac:picMkLst>
        </pc:picChg>
        <pc:picChg chg="add del mod">
          <ac:chgData name="Francisco Ortiz - Beka Finance" userId="17fc0672-9b28-497e-9f7f-4c3b7561c768" providerId="ADAL" clId="{4CE59101-6820-4584-9CD9-2ED30E8CC042}" dt="2023-08-03T12:04:46.632" v="174" actId="478"/>
          <ac:picMkLst>
            <pc:docMk/>
            <pc:sldMk cId="3246831304" sldId="478"/>
            <ac:picMk id="2056" creationId="{98AE773E-7B1D-3AD4-466D-326937C24D2F}"/>
          </ac:picMkLst>
        </pc:picChg>
        <pc:picChg chg="add del mod">
          <ac:chgData name="Francisco Ortiz - Beka Finance" userId="17fc0672-9b28-497e-9f7f-4c3b7561c768" providerId="ADAL" clId="{4CE59101-6820-4584-9CD9-2ED30E8CC042}" dt="2023-08-03T12:05:45.517" v="210" actId="478"/>
          <ac:picMkLst>
            <pc:docMk/>
            <pc:sldMk cId="3246831304" sldId="478"/>
            <ac:picMk id="2058" creationId="{B5EE0386-ED07-1534-F27C-F67756B5B865}"/>
          </ac:picMkLst>
        </pc:picChg>
        <pc:picChg chg="add mod">
          <ac:chgData name="Francisco Ortiz - Beka Finance" userId="17fc0672-9b28-497e-9f7f-4c3b7561c768" providerId="ADAL" clId="{4CE59101-6820-4584-9CD9-2ED30E8CC042}" dt="2023-08-03T12:35:16.745" v="396" actId="14100"/>
          <ac:picMkLst>
            <pc:docMk/>
            <pc:sldMk cId="3246831304" sldId="478"/>
            <ac:picMk id="2060" creationId="{52551A57-3D7F-F03B-D5BA-ACE067601081}"/>
          </ac:picMkLst>
        </pc:picChg>
        <pc:picChg chg="add mod">
          <ac:chgData name="Francisco Ortiz - Beka Finance" userId="17fc0672-9b28-497e-9f7f-4c3b7561c768" providerId="ADAL" clId="{4CE59101-6820-4584-9CD9-2ED30E8CC042}" dt="2023-08-03T12:35:13.207" v="395" actId="14100"/>
          <ac:picMkLst>
            <pc:docMk/>
            <pc:sldMk cId="3246831304" sldId="478"/>
            <ac:picMk id="2062" creationId="{5121A6AF-0A01-B8FF-87E5-A4309EFBB3D2}"/>
          </ac:picMkLst>
        </pc:picChg>
        <pc:picChg chg="add del mod">
          <ac:chgData name="Francisco Ortiz - Beka Finance" userId="17fc0672-9b28-497e-9f7f-4c3b7561c768" providerId="ADAL" clId="{4CE59101-6820-4584-9CD9-2ED30E8CC042}" dt="2023-08-03T12:09:22.165" v="295"/>
          <ac:picMkLst>
            <pc:docMk/>
            <pc:sldMk cId="3246831304" sldId="478"/>
            <ac:picMk id="2064" creationId="{2E98B5CF-9F81-0887-7CAC-B95D127824D2}"/>
          </ac:picMkLst>
        </pc:picChg>
        <pc:picChg chg="add mod">
          <ac:chgData name="Francisco Ortiz - Beka Finance" userId="17fc0672-9b28-497e-9f7f-4c3b7561c768" providerId="ADAL" clId="{4CE59101-6820-4584-9CD9-2ED30E8CC042}" dt="2023-08-03T12:09:59.406" v="301" actId="14100"/>
          <ac:picMkLst>
            <pc:docMk/>
            <pc:sldMk cId="3246831304" sldId="478"/>
            <ac:picMk id="2066" creationId="{1610D5D4-0E62-AAC2-3AAE-43A3705EFEC7}"/>
          </ac:picMkLst>
        </pc:picChg>
        <pc:picChg chg="add del mod">
          <ac:chgData name="Francisco Ortiz - Beka Finance" userId="17fc0672-9b28-497e-9f7f-4c3b7561c768" providerId="ADAL" clId="{4CE59101-6820-4584-9CD9-2ED30E8CC042}" dt="2023-08-03T12:10:18.385" v="305"/>
          <ac:picMkLst>
            <pc:docMk/>
            <pc:sldMk cId="3246831304" sldId="478"/>
            <ac:picMk id="2068" creationId="{C1E2B0AF-A276-CCDB-9FAD-FE700DF95B76}"/>
          </ac:picMkLst>
        </pc:picChg>
        <pc:picChg chg="add del mod">
          <ac:chgData name="Francisco Ortiz - Beka Finance" userId="17fc0672-9b28-497e-9f7f-4c3b7561c768" providerId="ADAL" clId="{4CE59101-6820-4584-9CD9-2ED30E8CC042}" dt="2023-08-03T12:10:41.623" v="308" actId="478"/>
          <ac:picMkLst>
            <pc:docMk/>
            <pc:sldMk cId="3246831304" sldId="478"/>
            <ac:picMk id="2070" creationId="{700AE6C1-C4B6-79FF-8594-FF9AE3C1B0D3}"/>
          </ac:picMkLst>
        </pc:pic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5" creationId="{A1F82AD7-DFF9-9D0B-7128-8800653E16B8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7" creationId="{92B0EB93-77A7-5BE5-0E21-39BB98DB74B0}"/>
          </ac:cxnSpMkLst>
        </pc:cxnChg>
        <pc:cxnChg chg="add mod">
          <ac:chgData name="Francisco Ortiz - Beka Finance" userId="17fc0672-9b28-497e-9f7f-4c3b7561c768" providerId="ADAL" clId="{4CE59101-6820-4584-9CD9-2ED30E8CC042}" dt="2023-08-03T12:07:04.852" v="233" actId="1076"/>
          <ac:cxnSpMkLst>
            <pc:docMk/>
            <pc:sldMk cId="3246831304" sldId="478"/>
            <ac:cxnSpMk id="9" creationId="{22C3D068-643D-E38B-176F-D677DEDF93C1}"/>
          </ac:cxnSpMkLst>
        </pc:cxnChg>
        <pc:cxnChg chg="add mod">
          <ac:chgData name="Francisco Ortiz - Beka Finance" userId="17fc0672-9b28-497e-9f7f-4c3b7561c768" providerId="ADAL" clId="{4CE59101-6820-4584-9CD9-2ED30E8CC042}" dt="2023-08-03T12:07:50.318" v="279" actId="1076"/>
          <ac:cxnSpMkLst>
            <pc:docMk/>
            <pc:sldMk cId="3246831304" sldId="478"/>
            <ac:cxnSpMk id="10" creationId="{1D9C612F-5746-1EAC-5C24-F65489A01165}"/>
          </ac:cxnSpMkLst>
        </pc:cxnChg>
        <pc:cxnChg chg="add mod">
          <ac:chgData name="Francisco Ortiz - Beka Finance" userId="17fc0672-9b28-497e-9f7f-4c3b7561c768" providerId="ADAL" clId="{4CE59101-6820-4584-9CD9-2ED30E8CC042}" dt="2023-08-03T12:08:00.945" v="282" actId="1076"/>
          <ac:cxnSpMkLst>
            <pc:docMk/>
            <pc:sldMk cId="3246831304" sldId="478"/>
            <ac:cxnSpMk id="11" creationId="{35E3CBAA-CB04-53BB-6EFB-770077388573}"/>
          </ac:cxnSpMkLst>
        </pc:cxnChg>
        <pc:cxnChg chg="del">
          <ac:chgData name="Francisco Ortiz - Beka Finance" userId="17fc0672-9b28-497e-9f7f-4c3b7561c768" providerId="ADAL" clId="{4CE59101-6820-4584-9CD9-2ED30E8CC042}" dt="2023-08-03T11:22:33.809" v="21" actId="478"/>
          <ac:cxnSpMkLst>
            <pc:docMk/>
            <pc:sldMk cId="3246831304" sldId="478"/>
            <ac:cxnSpMk id="17" creationId="{E721D432-280F-11A7-7D4B-6D99E0E0D56C}"/>
          </ac:cxnSpMkLst>
        </pc:cxnChg>
        <pc:cxnChg chg="del">
          <ac:chgData name="Francisco Ortiz - Beka Finance" userId="17fc0672-9b28-497e-9f7f-4c3b7561c768" providerId="ADAL" clId="{4CE59101-6820-4584-9CD9-2ED30E8CC042}" dt="2023-08-03T11:22:23.077" v="13" actId="478"/>
          <ac:cxnSpMkLst>
            <pc:docMk/>
            <pc:sldMk cId="3246831304" sldId="478"/>
            <ac:cxnSpMk id="18" creationId="{22BDC1BB-E571-71FE-18AA-6B2916484B2B}"/>
          </ac:cxnSpMkLst>
        </pc:cxnChg>
        <pc:cxnChg chg="del">
          <ac:chgData name="Francisco Ortiz - Beka Finance" userId="17fc0672-9b28-497e-9f7f-4c3b7561c768" providerId="ADAL" clId="{4CE59101-6820-4584-9CD9-2ED30E8CC042}" dt="2023-08-03T11:22:23.077" v="13" actId="478"/>
          <ac:cxnSpMkLst>
            <pc:docMk/>
            <pc:sldMk cId="3246831304" sldId="478"/>
            <ac:cxnSpMk id="19" creationId="{8DC98A7C-0118-9FF2-F06C-30D5C24CEF17}"/>
          </ac:cxnSpMkLst>
        </pc:cxnChg>
        <pc:cxnChg chg="del">
          <ac:chgData name="Francisco Ortiz - Beka Finance" userId="17fc0672-9b28-497e-9f7f-4c3b7561c768" providerId="ADAL" clId="{4CE59101-6820-4584-9CD9-2ED30E8CC042}" dt="2023-08-03T11:22:02.366" v="2" actId="478"/>
          <ac:cxnSpMkLst>
            <pc:docMk/>
            <pc:sldMk cId="3246831304" sldId="478"/>
            <ac:cxnSpMk id="27" creationId="{94040063-0E8C-14F7-289A-96262C37F6CF}"/>
          </ac:cxnSpMkLst>
        </pc:cxnChg>
        <pc:cxnChg chg="del">
          <ac:chgData name="Francisco Ortiz - Beka Finance" userId="17fc0672-9b28-497e-9f7f-4c3b7561c768" providerId="ADAL" clId="{4CE59101-6820-4584-9CD9-2ED30E8CC042}" dt="2023-08-03T11:22:33.809" v="21" actId="478"/>
          <ac:cxnSpMkLst>
            <pc:docMk/>
            <pc:sldMk cId="3246831304" sldId="478"/>
            <ac:cxnSpMk id="34" creationId="{F1767747-DC44-4E64-D47B-176378EB75D9}"/>
          </ac:cxnSpMkLst>
        </pc:cxnChg>
        <pc:cxnChg chg="del">
          <ac:chgData name="Francisco Ortiz - Beka Finance" userId="17fc0672-9b28-497e-9f7f-4c3b7561c768" providerId="ADAL" clId="{4CE59101-6820-4584-9CD9-2ED30E8CC042}" dt="2023-08-03T11:22:23.077" v="13" actId="478"/>
          <ac:cxnSpMkLst>
            <pc:docMk/>
            <pc:sldMk cId="3246831304" sldId="478"/>
            <ac:cxnSpMk id="63" creationId="{664048B5-8864-88EF-A317-C291928BFE62}"/>
          </ac:cxnSpMkLst>
        </pc:cxnChg>
        <pc:cxnChg chg="mod">
          <ac:chgData name="Francisco Ortiz - Beka Finance" userId="17fc0672-9b28-497e-9f7f-4c3b7561c768" providerId="ADAL" clId="{4CE59101-6820-4584-9CD9-2ED30E8CC042}" dt="2023-08-03T12:05:31.400" v="197" actId="1035"/>
          <ac:cxnSpMkLst>
            <pc:docMk/>
            <pc:sldMk cId="3246831304" sldId="478"/>
            <ac:cxnSpMk id="100" creationId="{9A27652C-3E02-464E-8A94-83B68CD1F125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265" creationId="{0FE9D599-8F27-5E6F-88ED-605796A7847D}"/>
          </ac:cxnSpMkLst>
        </pc:cxnChg>
        <pc:cxnChg chg="del">
          <ac:chgData name="Francisco Ortiz - Beka Finance" userId="17fc0672-9b28-497e-9f7f-4c3b7561c768" providerId="ADAL" clId="{4CE59101-6820-4584-9CD9-2ED30E8CC042}" dt="2023-08-03T11:22:23.077" v="13" actId="478"/>
          <ac:cxnSpMkLst>
            <pc:docMk/>
            <pc:sldMk cId="3246831304" sldId="478"/>
            <ac:cxnSpMk id="266" creationId="{3E54EB89-6847-472E-6116-B5A69FCEEB23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267" creationId="{37883C51-2B32-693B-48F1-FC26A8EFF034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268" creationId="{2B03BD83-47CB-B404-0AE5-AD2017C36AB7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269" creationId="{E6701834-F4DE-C3F3-8BCE-4FF091F3DA0F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270" creationId="{B1AFEEEA-5038-3A35-510C-ECF995156719}"/>
          </ac:cxnSpMkLst>
        </pc:cxnChg>
        <pc:cxnChg chg="del">
          <ac:chgData name="Francisco Ortiz - Beka Finance" userId="17fc0672-9b28-497e-9f7f-4c3b7561c768" providerId="ADAL" clId="{4CE59101-6820-4584-9CD9-2ED30E8CC042}" dt="2023-08-03T11:22:23.077" v="13" actId="478"/>
          <ac:cxnSpMkLst>
            <pc:docMk/>
            <pc:sldMk cId="3246831304" sldId="478"/>
            <ac:cxnSpMk id="271" creationId="{0AA0CFCD-3FA7-5551-6022-56C4609CF494}"/>
          </ac:cxnSpMkLst>
        </pc:cxnChg>
        <pc:cxnChg chg="del">
          <ac:chgData name="Francisco Ortiz - Beka Finance" userId="17fc0672-9b28-497e-9f7f-4c3b7561c768" providerId="ADAL" clId="{4CE59101-6820-4584-9CD9-2ED30E8CC042}" dt="2023-08-03T11:22:23.077" v="13" actId="478"/>
          <ac:cxnSpMkLst>
            <pc:docMk/>
            <pc:sldMk cId="3246831304" sldId="478"/>
            <ac:cxnSpMk id="272" creationId="{DCB5B19B-B742-080E-CA5B-7822CBD53A73}"/>
          </ac:cxnSpMkLst>
        </pc:cxnChg>
        <pc:cxnChg chg="del">
          <ac:chgData name="Francisco Ortiz - Beka Finance" userId="17fc0672-9b28-497e-9f7f-4c3b7561c768" providerId="ADAL" clId="{4CE59101-6820-4584-9CD9-2ED30E8CC042}" dt="2023-08-03T11:22:23.077" v="13" actId="478"/>
          <ac:cxnSpMkLst>
            <pc:docMk/>
            <pc:sldMk cId="3246831304" sldId="478"/>
            <ac:cxnSpMk id="273" creationId="{D3288417-B5DB-EFF1-D2EB-5967FD8077E0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274" creationId="{C44ADEF3-ED5A-56B3-5C07-F2EFBF2E6221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275" creationId="{CFBD508F-BE9C-9C94-4663-6DABC1856331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276" creationId="{B2DF9728-B72B-180C-3B47-0EECB84C92DC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330" creationId="{21B188C3-A3E1-349C-D56F-47A1587ED484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331" creationId="{FAAE94BD-52BD-972C-4429-FD8C0A7D8F9C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336" creationId="{ACF633FD-952B-3E61-BE5F-BF54247EA068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337" creationId="{4CFB7674-6D95-FC9B-FDC8-F8CEC01399C3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338" creationId="{BAB4B6A4-D149-8E60-EF85-14D7B9C7FA1A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339" creationId="{454A2268-CE81-E39B-EAD8-C5F69FE6E1DF}"/>
          </ac:cxnSpMkLst>
        </pc:cxnChg>
        <pc:cxnChg chg="del">
          <ac:chgData name="Francisco Ortiz - Beka Finance" userId="17fc0672-9b28-497e-9f7f-4c3b7561c768" providerId="ADAL" clId="{4CE59101-6820-4584-9CD9-2ED30E8CC042}" dt="2023-08-03T11:22:02.366" v="2" actId="478"/>
          <ac:cxnSpMkLst>
            <pc:docMk/>
            <pc:sldMk cId="3246831304" sldId="478"/>
            <ac:cxnSpMk id="340" creationId="{95D29C3E-663C-DE24-44C5-BDC0D4548865}"/>
          </ac:cxnSpMkLst>
        </pc:cxnChg>
        <pc:cxnChg chg="del">
          <ac:chgData name="Francisco Ortiz - Beka Finance" userId="17fc0672-9b28-497e-9f7f-4c3b7561c768" providerId="ADAL" clId="{4CE59101-6820-4584-9CD9-2ED30E8CC042}" dt="2023-08-03T11:22:02.366" v="2" actId="478"/>
          <ac:cxnSpMkLst>
            <pc:docMk/>
            <pc:sldMk cId="3246831304" sldId="478"/>
            <ac:cxnSpMk id="360" creationId="{97CDDE2C-0F75-CCD8-48CC-C4A92DEF9CB0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361" creationId="{8006AA46-E690-35D0-F833-90C14C845E67}"/>
          </ac:cxnSpMkLst>
        </pc:cxnChg>
        <pc:cxnChg chg="del">
          <ac:chgData name="Francisco Ortiz - Beka Finance" userId="17fc0672-9b28-497e-9f7f-4c3b7561c768" providerId="ADAL" clId="{4CE59101-6820-4584-9CD9-2ED30E8CC042}" dt="2023-08-03T11:22:02.366" v="2" actId="478"/>
          <ac:cxnSpMkLst>
            <pc:docMk/>
            <pc:sldMk cId="3246831304" sldId="478"/>
            <ac:cxnSpMk id="371" creationId="{924763F6-E383-7BE3-5597-540E660E86B0}"/>
          </ac:cxnSpMkLst>
        </pc:cxnChg>
        <pc:cxnChg chg="del">
          <ac:chgData name="Francisco Ortiz - Beka Finance" userId="17fc0672-9b28-497e-9f7f-4c3b7561c768" providerId="ADAL" clId="{4CE59101-6820-4584-9CD9-2ED30E8CC042}" dt="2023-08-03T11:22:02.366" v="2" actId="478"/>
          <ac:cxnSpMkLst>
            <pc:docMk/>
            <pc:sldMk cId="3246831304" sldId="478"/>
            <ac:cxnSpMk id="372" creationId="{7C5BC96B-3541-5470-1617-25072089A546}"/>
          </ac:cxnSpMkLst>
        </pc:cxnChg>
        <pc:cxnChg chg="del">
          <ac:chgData name="Francisco Ortiz - Beka Finance" userId="17fc0672-9b28-497e-9f7f-4c3b7561c768" providerId="ADAL" clId="{4CE59101-6820-4584-9CD9-2ED30E8CC042}" dt="2023-08-03T12:07:41.896" v="278" actId="478"/>
          <ac:cxnSpMkLst>
            <pc:docMk/>
            <pc:sldMk cId="3246831304" sldId="478"/>
            <ac:cxnSpMk id="375" creationId="{CAED54DD-3496-4946-8C8A-618DCF9DF926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376" creationId="{87B791E3-A595-0197-009D-C81F7B434191}"/>
          </ac:cxnSpMkLst>
        </pc:cxnChg>
        <pc:cxnChg chg="del">
          <ac:chgData name="Francisco Ortiz - Beka Finance" userId="17fc0672-9b28-497e-9f7f-4c3b7561c768" providerId="ADAL" clId="{4CE59101-6820-4584-9CD9-2ED30E8CC042}" dt="2023-08-03T11:22:02.366" v="2" actId="478"/>
          <ac:cxnSpMkLst>
            <pc:docMk/>
            <pc:sldMk cId="3246831304" sldId="478"/>
            <ac:cxnSpMk id="378" creationId="{B821085D-F592-4A70-85DE-FF80ECA8A3FF}"/>
          </ac:cxnSpMkLst>
        </pc:cxnChg>
        <pc:cxnChg chg="del">
          <ac:chgData name="Francisco Ortiz - Beka Finance" userId="17fc0672-9b28-497e-9f7f-4c3b7561c768" providerId="ADAL" clId="{4CE59101-6820-4584-9CD9-2ED30E8CC042}" dt="2023-08-03T11:22:23.077" v="13" actId="478"/>
          <ac:cxnSpMkLst>
            <pc:docMk/>
            <pc:sldMk cId="3246831304" sldId="478"/>
            <ac:cxnSpMk id="525" creationId="{DEA3B70E-57C8-8A86-9483-9E102C5B117B}"/>
          </ac:cxnSpMkLst>
        </pc:cxnChg>
        <pc:cxnChg chg="del">
          <ac:chgData name="Francisco Ortiz - Beka Finance" userId="17fc0672-9b28-497e-9f7f-4c3b7561c768" providerId="ADAL" clId="{4CE59101-6820-4584-9CD9-2ED30E8CC042}" dt="2023-08-03T11:22:23.077" v="13" actId="478"/>
          <ac:cxnSpMkLst>
            <pc:docMk/>
            <pc:sldMk cId="3246831304" sldId="478"/>
            <ac:cxnSpMk id="527" creationId="{7CEFEBEF-226B-0064-264C-87327F0E17F9}"/>
          </ac:cxnSpMkLst>
        </pc:cxnChg>
        <pc:cxnChg chg="del">
          <ac:chgData name="Francisco Ortiz - Beka Finance" userId="17fc0672-9b28-497e-9f7f-4c3b7561c768" providerId="ADAL" clId="{4CE59101-6820-4584-9CD9-2ED30E8CC042}" dt="2023-08-03T11:22:23.077" v="13" actId="478"/>
          <ac:cxnSpMkLst>
            <pc:docMk/>
            <pc:sldMk cId="3246831304" sldId="478"/>
            <ac:cxnSpMk id="529" creationId="{7276AC64-4563-1C96-CD57-52213B663655}"/>
          </ac:cxnSpMkLst>
        </pc:cxnChg>
        <pc:cxnChg chg="del">
          <ac:chgData name="Francisco Ortiz - Beka Finance" userId="17fc0672-9b28-497e-9f7f-4c3b7561c768" providerId="ADAL" clId="{4CE59101-6820-4584-9CD9-2ED30E8CC042}" dt="2023-08-03T11:22:23.077" v="13" actId="478"/>
          <ac:cxnSpMkLst>
            <pc:docMk/>
            <pc:sldMk cId="3246831304" sldId="478"/>
            <ac:cxnSpMk id="531" creationId="{306DB118-6F36-9FE2-1967-9C4A7424EDAF}"/>
          </ac:cxnSpMkLst>
        </pc:cxnChg>
        <pc:cxnChg chg="del">
          <ac:chgData name="Francisco Ortiz - Beka Finance" userId="17fc0672-9b28-497e-9f7f-4c3b7561c768" providerId="ADAL" clId="{4CE59101-6820-4584-9CD9-2ED30E8CC042}" dt="2023-08-03T11:22:23.077" v="13" actId="478"/>
          <ac:cxnSpMkLst>
            <pc:docMk/>
            <pc:sldMk cId="3246831304" sldId="478"/>
            <ac:cxnSpMk id="533" creationId="{A05F45CF-A4DF-634D-2C74-64F199F2FA03}"/>
          </ac:cxnSpMkLst>
        </pc:cxnChg>
        <pc:cxnChg chg="del">
          <ac:chgData name="Francisco Ortiz - Beka Finance" userId="17fc0672-9b28-497e-9f7f-4c3b7561c768" providerId="ADAL" clId="{4CE59101-6820-4584-9CD9-2ED30E8CC042}" dt="2023-08-03T11:22:23.077" v="13" actId="478"/>
          <ac:cxnSpMkLst>
            <pc:docMk/>
            <pc:sldMk cId="3246831304" sldId="478"/>
            <ac:cxnSpMk id="535" creationId="{74909C4C-ACE5-ED57-02A3-7489ED7F4737}"/>
          </ac:cxnSpMkLst>
        </pc:cxnChg>
        <pc:cxnChg chg="add del mod">
          <ac:chgData name="Francisco Ortiz - Beka Finance" userId="17fc0672-9b28-497e-9f7f-4c3b7561c768" providerId="ADAL" clId="{4CE59101-6820-4584-9CD9-2ED30E8CC042}" dt="2023-08-03T12:06:54.402" v="231" actId="478"/>
          <ac:cxnSpMkLst>
            <pc:docMk/>
            <pc:sldMk cId="3246831304" sldId="478"/>
            <ac:cxnSpMk id="553" creationId="{4E792B6C-4E15-4F27-8B3E-117E532ECC8C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564" creationId="{6BB15652-259B-9515-DDFD-F11B6620E2D2}"/>
          </ac:cxnSpMkLst>
        </pc:cxnChg>
        <pc:cxnChg chg="del">
          <ac:chgData name="Francisco Ortiz - Beka Finance" userId="17fc0672-9b28-497e-9f7f-4c3b7561c768" providerId="ADAL" clId="{4CE59101-6820-4584-9CD9-2ED30E8CC042}" dt="2023-08-03T11:22:28.186" v="18" actId="478"/>
          <ac:cxnSpMkLst>
            <pc:docMk/>
            <pc:sldMk cId="3246831304" sldId="478"/>
            <ac:cxnSpMk id="785" creationId="{48950E0E-75AE-31F5-9454-0F2466DF684F}"/>
          </ac:cxnSpMkLst>
        </pc:cxnChg>
        <pc:cxnChg chg="del">
          <ac:chgData name="Francisco Ortiz - Beka Finance" userId="17fc0672-9b28-497e-9f7f-4c3b7561c768" providerId="ADAL" clId="{4CE59101-6820-4584-9CD9-2ED30E8CC042}" dt="2023-08-03T11:22:02.366" v="2" actId="478"/>
          <ac:cxnSpMkLst>
            <pc:docMk/>
            <pc:sldMk cId="3246831304" sldId="478"/>
            <ac:cxnSpMk id="837" creationId="{1530CCED-F041-8558-85D6-84D1392061EE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896" creationId="{A324AD98-4174-BEF3-9E2B-A925ECE0AF2E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897" creationId="{A3E91F27-E588-6C44-2AB5-D08DA73E8EC7}"/>
          </ac:cxnSpMkLst>
        </pc:cxnChg>
        <pc:cxnChg chg="del">
          <ac:chgData name="Francisco Ortiz - Beka Finance" userId="17fc0672-9b28-497e-9f7f-4c3b7561c768" providerId="ADAL" clId="{4CE59101-6820-4584-9CD9-2ED30E8CC042}" dt="2023-08-03T11:22:33.809" v="21" actId="478"/>
          <ac:cxnSpMkLst>
            <pc:docMk/>
            <pc:sldMk cId="3246831304" sldId="478"/>
            <ac:cxnSpMk id="899" creationId="{61D09288-C58D-D5C4-C799-1DEB8156E64C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900" creationId="{1E314401-0C78-168D-0F11-E5CBAC12312E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901" creationId="{EFE3FDF2-1885-BC03-B8EA-B35692EB3110}"/>
          </ac:cxnSpMkLst>
        </pc:cxnChg>
        <pc:cxnChg chg="del">
          <ac:chgData name="Francisco Ortiz - Beka Finance" userId="17fc0672-9b28-497e-9f7f-4c3b7561c768" providerId="ADAL" clId="{4CE59101-6820-4584-9CD9-2ED30E8CC042}" dt="2023-08-03T11:22:02.366" v="2" actId="478"/>
          <ac:cxnSpMkLst>
            <pc:docMk/>
            <pc:sldMk cId="3246831304" sldId="478"/>
            <ac:cxnSpMk id="902" creationId="{16396ADE-1618-0DAB-A41A-CE5D54104DBE}"/>
          </ac:cxnSpMkLst>
        </pc:cxnChg>
        <pc:cxnChg chg="del">
          <ac:chgData name="Francisco Ortiz - Beka Finance" userId="17fc0672-9b28-497e-9f7f-4c3b7561c768" providerId="ADAL" clId="{4CE59101-6820-4584-9CD9-2ED30E8CC042}" dt="2023-08-03T11:22:02.366" v="2" actId="478"/>
          <ac:cxnSpMkLst>
            <pc:docMk/>
            <pc:sldMk cId="3246831304" sldId="478"/>
            <ac:cxnSpMk id="903" creationId="{4779510F-4692-9B29-E35C-CF2C2D5AA5BD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904" creationId="{DB18EC95-37FD-FD5D-A0DE-3BE298B88AD5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905" creationId="{2117E852-F57C-0954-44E1-EC032959A2DC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906" creationId="{4146D0D9-FD7D-163F-09F1-14EA64F78B26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907" creationId="{3235915A-D2CB-8176-936A-56FC2002A836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908" creationId="{A541C79E-48A5-5B6E-6AF2-FFF8103A40F8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909" creationId="{ADD24460-AB14-2AB8-66D8-2C6A9D2EA175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911" creationId="{E6BB12A3-8146-140E-FEDE-57F77AF568C3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912" creationId="{226E7DDC-91CC-7322-A3E0-B533280EFF51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913" creationId="{6BBC0049-BE98-D29C-3F22-DED492AF079B}"/>
          </ac:cxnSpMkLst>
        </pc:cxnChg>
        <pc:cxnChg chg="del">
          <ac:chgData name="Francisco Ortiz - Beka Finance" userId="17fc0672-9b28-497e-9f7f-4c3b7561c768" providerId="ADAL" clId="{4CE59101-6820-4584-9CD9-2ED30E8CC042}" dt="2023-08-03T11:21:57.836" v="1" actId="478"/>
          <ac:cxnSpMkLst>
            <pc:docMk/>
            <pc:sldMk cId="3246831304" sldId="478"/>
            <ac:cxnSpMk id="914" creationId="{087CF2D3-EC5D-D666-3B71-529875D360EB}"/>
          </ac:cxnSpMkLst>
        </pc:cxnChg>
        <pc:cxnChg chg="del">
          <ac:chgData name="Francisco Ortiz - Beka Finance" userId="17fc0672-9b28-497e-9f7f-4c3b7561c768" providerId="ADAL" clId="{4CE59101-6820-4584-9CD9-2ED30E8CC042}" dt="2023-08-03T12:07:52.674" v="280" actId="478"/>
          <ac:cxnSpMkLst>
            <pc:docMk/>
            <pc:sldMk cId="3246831304" sldId="478"/>
            <ac:cxnSpMk id="940" creationId="{B32DEEAB-BA94-5D2E-A78A-C0A21E52AD39}"/>
          </ac:cxnSpMkLst>
        </pc:cxnChg>
        <pc:cxnChg chg="del">
          <ac:chgData name="Francisco Ortiz - Beka Finance" userId="17fc0672-9b28-497e-9f7f-4c3b7561c768" providerId="ADAL" clId="{4CE59101-6820-4584-9CD9-2ED30E8CC042}" dt="2023-08-03T11:22:23.077" v="13" actId="478"/>
          <ac:cxnSpMkLst>
            <pc:docMk/>
            <pc:sldMk cId="3246831304" sldId="478"/>
            <ac:cxnSpMk id="952" creationId="{6D475959-47E1-E4B6-09BD-EAAFBE6B987C}"/>
          </ac:cxnSpMkLst>
        </pc:cxnChg>
      </pc:sldChg>
      <pc:sldChg chg="del">
        <pc:chgData name="Francisco Ortiz - Beka Finance" userId="17fc0672-9b28-497e-9f7f-4c3b7561c768" providerId="ADAL" clId="{4CE59101-6820-4584-9CD9-2ED30E8CC042}" dt="2023-08-03T11:33:33.765" v="62" actId="47"/>
        <pc:sldMkLst>
          <pc:docMk/>
          <pc:sldMk cId="3603527916" sldId="481"/>
        </pc:sldMkLst>
      </pc:sldChg>
      <pc:sldChg chg="del">
        <pc:chgData name="Francisco Ortiz - Beka Finance" userId="17fc0672-9b28-497e-9f7f-4c3b7561c768" providerId="ADAL" clId="{4CE59101-6820-4584-9CD9-2ED30E8CC042}" dt="2023-08-03T11:33:15.416" v="55" actId="47"/>
        <pc:sldMkLst>
          <pc:docMk/>
          <pc:sldMk cId="3272679647" sldId="482"/>
        </pc:sldMkLst>
      </pc:sldChg>
    </pc:docChg>
  </pc:docChgLst>
  <pc:docChgLst>
    <pc:chgData name="Javier Ortega" userId="0ce75ffc-4474-4cfc-a6be-6ec012bb96eb" providerId="ADAL" clId="{6A49278A-9FBF-4440-AB13-7F64F4FAFC1D}"/>
    <pc:docChg chg="modSld">
      <pc:chgData name="Javier Ortega" userId="0ce75ffc-4474-4cfc-a6be-6ec012bb96eb" providerId="ADAL" clId="{6A49278A-9FBF-4440-AB13-7F64F4FAFC1D}" dt="2023-08-04T11:34:30.840" v="2" actId="1076"/>
      <pc:docMkLst>
        <pc:docMk/>
      </pc:docMkLst>
      <pc:sldChg chg="modSp mod">
        <pc:chgData name="Javier Ortega" userId="0ce75ffc-4474-4cfc-a6be-6ec012bb96eb" providerId="ADAL" clId="{6A49278A-9FBF-4440-AB13-7F64F4FAFC1D}" dt="2023-08-04T11:34:30.840" v="2" actId="1076"/>
        <pc:sldMkLst>
          <pc:docMk/>
          <pc:sldMk cId="3246831304" sldId="478"/>
        </pc:sldMkLst>
        <pc:spChg chg="mod">
          <ac:chgData name="Javier Ortega" userId="0ce75ffc-4474-4cfc-a6be-6ec012bb96eb" providerId="ADAL" clId="{6A49278A-9FBF-4440-AB13-7F64F4FAFC1D}" dt="2023-08-04T11:33:58.130" v="0" actId="1076"/>
          <ac:spMkLst>
            <pc:docMk/>
            <pc:sldMk cId="3246831304" sldId="478"/>
            <ac:spMk id="218" creationId="{2789745E-7F6D-4955-82D5-4570BD67B8D6}"/>
          </ac:spMkLst>
        </pc:spChg>
        <pc:spChg chg="mod">
          <ac:chgData name="Javier Ortega" userId="0ce75ffc-4474-4cfc-a6be-6ec012bb96eb" providerId="ADAL" clId="{6A49278A-9FBF-4440-AB13-7F64F4FAFC1D}" dt="2023-08-04T11:34:22.894" v="1" actId="1076"/>
          <ac:spMkLst>
            <pc:docMk/>
            <pc:sldMk cId="3246831304" sldId="478"/>
            <ac:spMk id="939" creationId="{B43E40AF-20F8-2637-2C44-C0E3D46E5717}"/>
          </ac:spMkLst>
        </pc:spChg>
        <pc:picChg chg="mod">
          <ac:chgData name="Javier Ortega" userId="0ce75ffc-4474-4cfc-a6be-6ec012bb96eb" providerId="ADAL" clId="{6A49278A-9FBF-4440-AB13-7F64F4FAFC1D}" dt="2023-08-04T11:34:30.840" v="2" actId="1076"/>
          <ac:picMkLst>
            <pc:docMk/>
            <pc:sldMk cId="3246831304" sldId="478"/>
            <ac:picMk id="950" creationId="{00000000-0000-0000-0000-000000000000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514273893256101E-2"/>
          <c:y val="0.1105807478122514"/>
          <c:w val="0.95697145221348778"/>
          <c:h val="0.84805091487669049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rgbClr val="C000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square"/>
              <c:size val="4"/>
              <c:spPr>
                <a:solidFill>
                  <a:srgbClr val="C00000"/>
                </a:solidFill>
                <a:ln w="9525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2541-4A04-AE5C-6F51FCE1CA09}"/>
              </c:ext>
            </c:extLst>
          </c:dPt>
          <c:dPt>
            <c:idx val="1"/>
            <c:marker>
              <c:symbol val="square"/>
              <c:size val="4"/>
              <c:spPr>
                <a:solidFill>
                  <a:srgbClr val="C00000"/>
                </a:solidFill>
                <a:ln w="9525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2541-4A04-AE5C-6F51FCE1CA09}"/>
              </c:ext>
            </c:extLst>
          </c:dPt>
          <c:dPt>
            <c:idx val="2"/>
            <c:marker>
              <c:symbol val="square"/>
              <c:size val="4"/>
              <c:spPr>
                <a:solidFill>
                  <a:srgbClr val="C00000"/>
                </a:solidFill>
                <a:ln w="9525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2541-4A04-AE5C-6F51FCE1CA09}"/>
              </c:ext>
            </c:extLst>
          </c:dPt>
          <c:dPt>
            <c:idx val="3"/>
            <c:marker>
              <c:symbol val="square"/>
              <c:size val="4"/>
              <c:spPr>
                <a:solidFill>
                  <a:srgbClr val="C00000"/>
                </a:solidFill>
                <a:ln w="9525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2541-4A04-AE5C-6F51FCE1CA09}"/>
              </c:ext>
            </c:extLst>
          </c:dPt>
          <c:dPt>
            <c:idx val="4"/>
            <c:marker>
              <c:symbol val="square"/>
              <c:size val="4"/>
              <c:spPr>
                <a:solidFill>
                  <a:srgbClr val="C00000"/>
                </a:solidFill>
                <a:ln w="9525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2541-4A04-AE5C-6F51FCE1CA09}"/>
              </c:ext>
            </c:extLst>
          </c:dPt>
          <c:dPt>
            <c:idx val="5"/>
            <c:marker>
              <c:symbol val="square"/>
              <c:size val="4"/>
              <c:spPr>
                <a:solidFill>
                  <a:srgbClr val="C00000"/>
                </a:solidFill>
                <a:ln w="9525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2541-4A04-AE5C-6F51FCE1CA09}"/>
              </c:ext>
            </c:extLst>
          </c:dPt>
          <c:dPt>
            <c:idx val="6"/>
            <c:marker>
              <c:symbol val="square"/>
              <c:size val="4"/>
              <c:spPr>
                <a:solidFill>
                  <a:srgbClr val="C00000"/>
                </a:solidFill>
                <a:ln w="9525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2541-4A04-AE5C-6F51FCE1CA09}"/>
              </c:ext>
            </c:extLst>
          </c:dPt>
          <c:dPt>
            <c:idx val="7"/>
            <c:marker>
              <c:symbol val="square"/>
              <c:size val="4"/>
              <c:spPr>
                <a:solidFill>
                  <a:srgbClr val="C00000"/>
                </a:solidFill>
                <a:ln w="9525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2541-4A04-AE5C-6F51FCE1CA09}"/>
              </c:ext>
            </c:extLst>
          </c:dPt>
          <c:dPt>
            <c:idx val="8"/>
            <c:marker>
              <c:symbol val="square"/>
              <c:size val="4"/>
              <c:spPr>
                <a:solidFill>
                  <a:srgbClr val="C00000"/>
                </a:solidFill>
                <a:ln w="9525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2541-4A04-AE5C-6F51FCE1CA09}"/>
              </c:ext>
            </c:extLst>
          </c:dPt>
          <c:dPt>
            <c:idx val="9"/>
            <c:marker>
              <c:symbol val="square"/>
              <c:size val="4"/>
              <c:spPr>
                <a:solidFill>
                  <a:srgbClr val="C00000"/>
                </a:solidFill>
                <a:ln w="9525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2541-4A04-AE5C-6F51FCE1CA09}"/>
              </c:ext>
            </c:extLst>
          </c:dPt>
          <c:dPt>
            <c:idx val="10"/>
            <c:marker>
              <c:symbol val="square"/>
              <c:size val="4"/>
              <c:spPr>
                <a:solidFill>
                  <a:srgbClr val="C00000"/>
                </a:solidFill>
                <a:ln w="9525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2541-4A04-AE5C-6F51FCE1CA09}"/>
              </c:ext>
            </c:extLst>
          </c:dPt>
          <c:dPt>
            <c:idx val="11"/>
            <c:marker>
              <c:symbol val="square"/>
              <c:size val="4"/>
              <c:spPr>
                <a:solidFill>
                  <a:srgbClr val="C00000"/>
                </a:solidFill>
                <a:ln w="9525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2541-4A04-AE5C-6F51FCE1CA09}"/>
              </c:ext>
            </c:extLst>
          </c:dPt>
          <c:dPt>
            <c:idx val="12"/>
            <c:marker>
              <c:symbol val="square"/>
              <c:size val="4"/>
              <c:spPr>
                <a:solidFill>
                  <a:srgbClr val="C00000"/>
                </a:solidFill>
                <a:ln w="9525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2541-4A04-AE5C-6F51FCE1CA09}"/>
              </c:ext>
            </c:extLst>
          </c:dPt>
          <c:dPt>
            <c:idx val="13"/>
            <c:marker>
              <c:symbol val="square"/>
              <c:size val="4"/>
              <c:spPr>
                <a:solidFill>
                  <a:srgbClr val="C00000"/>
                </a:solidFill>
                <a:ln w="9525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2541-4A04-AE5C-6F51FCE1CA09}"/>
              </c:ext>
            </c:extLst>
          </c:dPt>
          <c:dPt>
            <c:idx val="14"/>
            <c:marker>
              <c:symbol val="square"/>
              <c:size val="4"/>
              <c:spPr>
                <a:solidFill>
                  <a:srgbClr val="C00000"/>
                </a:solidFill>
                <a:ln w="9525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2541-4A04-AE5C-6F51FCE1CA09}"/>
              </c:ext>
            </c:extLst>
          </c:dPt>
          <c:dPt>
            <c:idx val="15"/>
            <c:marker>
              <c:symbol val="square"/>
              <c:size val="4"/>
              <c:spPr>
                <a:solidFill>
                  <a:srgbClr val="C00000"/>
                </a:solidFill>
                <a:ln w="9525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2541-4A04-AE5C-6F51FCE1CA09}"/>
              </c:ext>
            </c:extLst>
          </c:dPt>
          <c:dPt>
            <c:idx val="16"/>
            <c:marker>
              <c:symbol val="square"/>
              <c:size val="4"/>
              <c:spPr>
                <a:solidFill>
                  <a:srgbClr val="C00000"/>
                </a:solidFill>
                <a:ln w="9525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2541-4A04-AE5C-6F51FCE1CA09}"/>
              </c:ext>
            </c:extLst>
          </c:dPt>
          <c:dLbls>
            <c:dLbl>
              <c:idx val="2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Avenir"/>
                      <a:cs typeface="Avenir"/>
                      <a:sym typeface="Avenir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541-4A04-AE5C-6F51FCE1CA09}"/>
                </c:ext>
              </c:extLst>
            </c:dLbl>
            <c:dLbl>
              <c:idx val="3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Avenir"/>
                      <a:cs typeface="Avenir"/>
                      <a:sym typeface="Avenir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541-4A04-AE5C-6F51FCE1CA09}"/>
                </c:ext>
              </c:extLst>
            </c:dLbl>
            <c:dLbl>
              <c:idx val="4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Avenir"/>
                      <a:cs typeface="Avenir"/>
                      <a:sym typeface="Avenir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541-4A04-AE5C-6F51FCE1CA09}"/>
                </c:ext>
              </c:extLst>
            </c:dLbl>
            <c:dLbl>
              <c:idx val="5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Avenir"/>
                      <a:cs typeface="Avenir"/>
                      <a:sym typeface="Avenir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541-4A04-AE5C-6F51FCE1CA09}"/>
                </c:ext>
              </c:extLst>
            </c:dLbl>
            <c:dLbl>
              <c:idx val="6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Avenir"/>
                      <a:cs typeface="Avenir"/>
                      <a:sym typeface="Avenir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541-4A04-AE5C-6F51FCE1CA09}"/>
                </c:ext>
              </c:extLst>
            </c:dLbl>
            <c:dLbl>
              <c:idx val="7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Avenir"/>
                      <a:cs typeface="Avenir"/>
                      <a:sym typeface="Avenir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541-4A04-AE5C-6F51FCE1CA09}"/>
                </c:ext>
              </c:extLst>
            </c:dLbl>
            <c:dLbl>
              <c:idx val="8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Avenir"/>
                      <a:cs typeface="Avenir"/>
                      <a:sym typeface="Avenir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541-4A04-AE5C-6F51FCE1CA09}"/>
                </c:ext>
              </c:extLst>
            </c:dLbl>
            <c:dLbl>
              <c:idx val="9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Avenir"/>
                      <a:cs typeface="Avenir"/>
                      <a:sym typeface="Avenir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541-4A04-AE5C-6F51FCE1CA09}"/>
                </c:ext>
              </c:extLst>
            </c:dLbl>
            <c:dLbl>
              <c:idx val="10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Avenir"/>
                      <a:cs typeface="Avenir"/>
                      <a:sym typeface="Avenir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541-4A04-AE5C-6F51FCE1CA09}"/>
                </c:ext>
              </c:extLst>
            </c:dLbl>
            <c:dLbl>
              <c:idx val="12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Avenir"/>
                      <a:cs typeface="Avenir"/>
                      <a:sym typeface="Avenir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2541-4A04-AE5C-6F51FCE1CA09}"/>
                </c:ext>
              </c:extLst>
            </c:dLbl>
            <c:dLbl>
              <c:idx val="13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Avenir"/>
                      <a:cs typeface="Avenir"/>
                      <a:sym typeface="Avenir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2541-4A04-AE5C-6F51FCE1CA09}"/>
                </c:ext>
              </c:extLst>
            </c:dLbl>
            <c:dLbl>
              <c:idx val="15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2541-4A04-AE5C-6F51FCE1CA09}"/>
                </c:ext>
              </c:extLst>
            </c:dLbl>
            <c:dLbl>
              <c:idx val="16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+mn-ea"/>
                      <a:cs typeface="+mn-cs"/>
                      <a:sym typeface="Avenir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2541-4A04-AE5C-6F51FCE1CA0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Q$1</c:f>
              <c:numCache>
                <c:formatCode>General</c:formatCode>
                <c:ptCount val="17"/>
                <c:pt idx="0">
                  <c:v>18993</c:v>
                </c:pt>
                <c:pt idx="1">
                  <c:v>19051</c:v>
                </c:pt>
                <c:pt idx="2">
                  <c:v>19082</c:v>
                </c:pt>
                <c:pt idx="3">
                  <c:v>19112</c:v>
                </c:pt>
                <c:pt idx="4">
                  <c:v>19143</c:v>
                </c:pt>
                <c:pt idx="5">
                  <c:v>19173</c:v>
                </c:pt>
                <c:pt idx="6">
                  <c:v>19204</c:v>
                </c:pt>
                <c:pt idx="7">
                  <c:v>19235</c:v>
                </c:pt>
                <c:pt idx="8">
                  <c:v>19265</c:v>
                </c:pt>
                <c:pt idx="9">
                  <c:v>19296</c:v>
                </c:pt>
                <c:pt idx="10">
                  <c:v>19326</c:v>
                </c:pt>
                <c:pt idx="11">
                  <c:v>19357</c:v>
                </c:pt>
                <c:pt idx="12">
                  <c:v>19388</c:v>
                </c:pt>
                <c:pt idx="13">
                  <c:v>19416</c:v>
                </c:pt>
                <c:pt idx="14">
                  <c:v>19447</c:v>
                </c:pt>
                <c:pt idx="15">
                  <c:v>19477</c:v>
                </c:pt>
                <c:pt idx="16">
                  <c:v>19508</c:v>
                </c:pt>
              </c:numCache>
            </c:numRef>
          </c:xVal>
          <c:yVal>
            <c:numRef>
              <c:f>Sheet1!$A$2:$Q$2</c:f>
              <c:numCache>
                <c:formatCode>General</c:formatCode>
                <c:ptCount val="17"/>
                <c:pt idx="0">
                  <c:v>6.1</c:v>
                </c:pt>
                <c:pt idx="1">
                  <c:v>7.6</c:v>
                </c:pt>
                <c:pt idx="2">
                  <c:v>9.8000000000000007</c:v>
                </c:pt>
                <c:pt idx="3">
                  <c:v>8.3000000000000007</c:v>
                </c:pt>
                <c:pt idx="4">
                  <c:v>8.6999999999999993</c:v>
                </c:pt>
                <c:pt idx="5">
                  <c:v>10.199999999999999</c:v>
                </c:pt>
                <c:pt idx="6">
                  <c:v>10.8</c:v>
                </c:pt>
                <c:pt idx="7">
                  <c:v>10.5</c:v>
                </c:pt>
                <c:pt idx="8">
                  <c:v>8.9</c:v>
                </c:pt>
                <c:pt idx="9">
                  <c:v>7.3</c:v>
                </c:pt>
                <c:pt idx="10">
                  <c:v>6.8</c:v>
                </c:pt>
                <c:pt idx="11">
                  <c:v>5.7</c:v>
                </c:pt>
                <c:pt idx="12">
                  <c:v>5.9</c:v>
                </c:pt>
                <c:pt idx="13">
                  <c:v>6</c:v>
                </c:pt>
                <c:pt idx="14">
                  <c:v>3.3</c:v>
                </c:pt>
                <c:pt idx="15">
                  <c:v>4.0999999999999996</c:v>
                </c:pt>
                <c:pt idx="16">
                  <c:v>3.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2541-4A04-AE5C-6F51FCE1CA09}"/>
            </c:ext>
          </c:extLst>
        </c:ser>
        <c:ser>
          <c:idx val="1"/>
          <c:order val="1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square"/>
              <c:size val="4"/>
              <c:spPr>
                <a:solidFill>
                  <a:srgbClr val="7F7F7F"/>
                </a:solidFill>
                <a:ln w="9525" algn="ctr">
                  <a:solidFill>
                    <a:srgbClr val="7F7F7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2541-4A04-AE5C-6F51FCE1CA09}"/>
              </c:ext>
            </c:extLst>
          </c:dPt>
          <c:dPt>
            <c:idx val="1"/>
            <c:marker>
              <c:symbol val="square"/>
              <c:size val="4"/>
              <c:spPr>
                <a:solidFill>
                  <a:srgbClr val="7F7F7F"/>
                </a:solidFill>
                <a:ln w="9525" algn="ctr">
                  <a:solidFill>
                    <a:srgbClr val="7F7F7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2541-4A04-AE5C-6F51FCE1CA09}"/>
              </c:ext>
            </c:extLst>
          </c:dPt>
          <c:dPt>
            <c:idx val="2"/>
            <c:marker>
              <c:symbol val="square"/>
              <c:size val="4"/>
              <c:spPr>
                <a:solidFill>
                  <a:srgbClr val="7F7F7F"/>
                </a:solidFill>
                <a:ln w="9525" algn="ctr">
                  <a:solidFill>
                    <a:srgbClr val="7F7F7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2541-4A04-AE5C-6F51FCE1CA09}"/>
              </c:ext>
            </c:extLst>
          </c:dPt>
          <c:dPt>
            <c:idx val="3"/>
            <c:marker>
              <c:symbol val="square"/>
              <c:size val="4"/>
              <c:spPr>
                <a:solidFill>
                  <a:srgbClr val="7F7F7F"/>
                </a:solidFill>
                <a:ln w="9525" algn="ctr">
                  <a:solidFill>
                    <a:srgbClr val="7F7F7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2541-4A04-AE5C-6F51FCE1CA09}"/>
              </c:ext>
            </c:extLst>
          </c:dPt>
          <c:dPt>
            <c:idx val="4"/>
            <c:marker>
              <c:symbol val="square"/>
              <c:size val="4"/>
              <c:spPr>
                <a:solidFill>
                  <a:srgbClr val="7F7F7F"/>
                </a:solidFill>
                <a:ln w="9525" algn="ctr">
                  <a:solidFill>
                    <a:srgbClr val="7F7F7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2541-4A04-AE5C-6F51FCE1CA09}"/>
              </c:ext>
            </c:extLst>
          </c:dPt>
          <c:dPt>
            <c:idx val="5"/>
            <c:marker>
              <c:symbol val="square"/>
              <c:size val="4"/>
              <c:spPr>
                <a:solidFill>
                  <a:srgbClr val="7F7F7F"/>
                </a:solidFill>
                <a:ln w="9525" algn="ctr">
                  <a:solidFill>
                    <a:srgbClr val="7F7F7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2541-4A04-AE5C-6F51FCE1CA09}"/>
              </c:ext>
            </c:extLst>
          </c:dPt>
          <c:dPt>
            <c:idx val="6"/>
            <c:marker>
              <c:symbol val="square"/>
              <c:size val="4"/>
              <c:spPr>
                <a:solidFill>
                  <a:srgbClr val="7F7F7F"/>
                </a:solidFill>
                <a:ln w="9525" algn="ctr">
                  <a:solidFill>
                    <a:srgbClr val="7F7F7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2541-4A04-AE5C-6F51FCE1CA09}"/>
              </c:ext>
            </c:extLst>
          </c:dPt>
          <c:dPt>
            <c:idx val="7"/>
            <c:marker>
              <c:symbol val="square"/>
              <c:size val="4"/>
              <c:spPr>
                <a:solidFill>
                  <a:srgbClr val="7F7F7F"/>
                </a:solidFill>
                <a:ln w="9525" algn="ctr">
                  <a:solidFill>
                    <a:srgbClr val="7F7F7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2541-4A04-AE5C-6F51FCE1CA09}"/>
              </c:ext>
            </c:extLst>
          </c:dPt>
          <c:dPt>
            <c:idx val="8"/>
            <c:marker>
              <c:symbol val="square"/>
              <c:size val="4"/>
              <c:spPr>
                <a:solidFill>
                  <a:srgbClr val="7F7F7F"/>
                </a:solidFill>
                <a:ln w="9525" algn="ctr">
                  <a:solidFill>
                    <a:srgbClr val="7F7F7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2541-4A04-AE5C-6F51FCE1CA09}"/>
              </c:ext>
            </c:extLst>
          </c:dPt>
          <c:dPt>
            <c:idx val="9"/>
            <c:marker>
              <c:symbol val="square"/>
              <c:size val="4"/>
              <c:spPr>
                <a:solidFill>
                  <a:srgbClr val="7F7F7F"/>
                </a:solidFill>
                <a:ln w="9525" algn="ctr">
                  <a:solidFill>
                    <a:srgbClr val="7F7F7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2541-4A04-AE5C-6F51FCE1CA09}"/>
              </c:ext>
            </c:extLst>
          </c:dPt>
          <c:dPt>
            <c:idx val="10"/>
            <c:marker>
              <c:symbol val="square"/>
              <c:size val="4"/>
              <c:spPr>
                <a:solidFill>
                  <a:srgbClr val="7F7F7F"/>
                </a:solidFill>
                <a:ln w="9525" algn="ctr">
                  <a:solidFill>
                    <a:srgbClr val="7F7F7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2541-4A04-AE5C-6F51FCE1CA09}"/>
              </c:ext>
            </c:extLst>
          </c:dPt>
          <c:dPt>
            <c:idx val="11"/>
            <c:marker>
              <c:symbol val="square"/>
              <c:size val="4"/>
              <c:spPr>
                <a:solidFill>
                  <a:srgbClr val="7F7F7F"/>
                </a:solidFill>
                <a:ln w="9525" algn="ctr">
                  <a:solidFill>
                    <a:srgbClr val="7F7F7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2541-4A04-AE5C-6F51FCE1CA09}"/>
              </c:ext>
            </c:extLst>
          </c:dPt>
          <c:dPt>
            <c:idx val="12"/>
            <c:marker>
              <c:symbol val="square"/>
              <c:size val="4"/>
              <c:spPr>
                <a:solidFill>
                  <a:srgbClr val="7F7F7F"/>
                </a:solidFill>
                <a:ln w="9525" algn="ctr">
                  <a:solidFill>
                    <a:srgbClr val="7F7F7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2541-4A04-AE5C-6F51FCE1CA09}"/>
              </c:ext>
            </c:extLst>
          </c:dPt>
          <c:dPt>
            <c:idx val="13"/>
            <c:marker>
              <c:symbol val="square"/>
              <c:size val="4"/>
              <c:spPr>
                <a:solidFill>
                  <a:srgbClr val="7F7F7F"/>
                </a:solidFill>
                <a:ln w="9525" algn="ctr">
                  <a:solidFill>
                    <a:srgbClr val="7F7F7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2541-4A04-AE5C-6F51FCE1CA09}"/>
              </c:ext>
            </c:extLst>
          </c:dPt>
          <c:dPt>
            <c:idx val="14"/>
            <c:marker>
              <c:symbol val="square"/>
              <c:size val="4"/>
              <c:spPr>
                <a:solidFill>
                  <a:srgbClr val="7F7F7F"/>
                </a:solidFill>
                <a:ln w="9525" algn="ctr">
                  <a:solidFill>
                    <a:srgbClr val="7F7F7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2541-4A04-AE5C-6F51FCE1CA09}"/>
              </c:ext>
            </c:extLst>
          </c:dPt>
          <c:dPt>
            <c:idx val="15"/>
            <c:marker>
              <c:symbol val="square"/>
              <c:size val="4"/>
              <c:spPr>
                <a:solidFill>
                  <a:srgbClr val="7F7F7F"/>
                </a:solidFill>
                <a:ln w="9525" algn="ctr">
                  <a:solidFill>
                    <a:srgbClr val="7F7F7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2541-4A04-AE5C-6F51FCE1CA09}"/>
              </c:ext>
            </c:extLst>
          </c:dPt>
          <c:dPt>
            <c:idx val="16"/>
            <c:marker>
              <c:symbol val="square"/>
              <c:size val="4"/>
              <c:spPr>
                <a:solidFill>
                  <a:srgbClr val="7F7F7F"/>
                </a:solidFill>
                <a:ln w="9525" algn="ctr">
                  <a:solidFill>
                    <a:srgbClr val="7F7F7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2541-4A04-AE5C-6F51FCE1CA09}"/>
              </c:ext>
            </c:extLst>
          </c:dPt>
          <c:dLbls>
            <c:dLbl>
              <c:idx val="0"/>
              <c:layout>
                <c:manualLayout>
                  <c:x val="2.0686801820438559E-2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2541-4A04-AE5C-6F51FCE1CA09}"/>
                </c:ext>
              </c:extLst>
            </c:dLbl>
            <c:dLbl>
              <c:idx val="1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2541-4A04-AE5C-6F51FCE1CA09}"/>
                </c:ext>
              </c:extLst>
            </c:dLbl>
            <c:dLbl>
              <c:idx val="2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2541-4A04-AE5C-6F51FCE1CA09}"/>
                </c:ext>
              </c:extLst>
            </c:dLbl>
            <c:dLbl>
              <c:idx val="3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2541-4A04-AE5C-6F51FCE1CA09}"/>
                </c:ext>
              </c:extLst>
            </c:dLbl>
            <c:dLbl>
              <c:idx val="4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2541-4A04-AE5C-6F51FCE1CA09}"/>
                </c:ext>
              </c:extLst>
            </c:dLbl>
            <c:dLbl>
              <c:idx val="5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2541-4A04-AE5C-6F51FCE1CA09}"/>
                </c:ext>
              </c:extLst>
            </c:dLbl>
            <c:dLbl>
              <c:idx val="6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2541-4A04-AE5C-6F51FCE1CA09}"/>
                </c:ext>
              </c:extLst>
            </c:dLbl>
            <c:dLbl>
              <c:idx val="7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2541-4A04-AE5C-6F51FCE1CA09}"/>
                </c:ext>
              </c:extLst>
            </c:dLbl>
            <c:dLbl>
              <c:idx val="8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2541-4A04-AE5C-6F51FCE1CA09}"/>
                </c:ext>
              </c:extLst>
            </c:dLbl>
            <c:dLbl>
              <c:idx val="10"/>
              <c:layout>
                <c:manualLayout>
                  <c:x val="0"/>
                  <c:y val="6.52346857597454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2541-4A04-AE5C-6F51FCE1CA09}"/>
                </c:ext>
              </c:extLst>
            </c:dLbl>
            <c:dLbl>
              <c:idx val="11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2541-4A04-AE5C-6F51FCE1CA09}"/>
                </c:ext>
              </c:extLst>
            </c:dLbl>
            <c:dLbl>
              <c:idx val="12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2541-4A04-AE5C-6F51FCE1CA09}"/>
                </c:ext>
              </c:extLst>
            </c:dLbl>
            <c:dLbl>
              <c:idx val="13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2541-4A04-AE5C-6F51FCE1CA09}"/>
                </c:ext>
              </c:extLst>
            </c:dLbl>
            <c:dLbl>
              <c:idx val="14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2541-4A04-AE5C-6F51FCE1CA09}"/>
                </c:ext>
              </c:extLst>
            </c:dLbl>
            <c:dLbl>
              <c:idx val="15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+mn-ea"/>
                      <a:cs typeface="+mn-cs"/>
                      <a:sym typeface="Avenir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2541-4A04-AE5C-6F51FCE1CA09}"/>
                </c:ext>
              </c:extLst>
            </c:dLbl>
            <c:dLbl>
              <c:idx val="16"/>
              <c:layout>
                <c:manualLayout>
                  <c:x val="0"/>
                  <c:y val="-6.92124105011933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venir"/>
                      <a:ea typeface="+mn-ea"/>
                      <a:cs typeface="+mn-cs"/>
                      <a:sym typeface="Avenir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2541-4A04-AE5C-6F51FCE1CA0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Q$1</c:f>
              <c:numCache>
                <c:formatCode>General</c:formatCode>
                <c:ptCount val="17"/>
                <c:pt idx="0">
                  <c:v>18993</c:v>
                </c:pt>
                <c:pt idx="1">
                  <c:v>19051</c:v>
                </c:pt>
                <c:pt idx="2">
                  <c:v>19082</c:v>
                </c:pt>
                <c:pt idx="3">
                  <c:v>19112</c:v>
                </c:pt>
                <c:pt idx="4">
                  <c:v>19143</c:v>
                </c:pt>
                <c:pt idx="5">
                  <c:v>19173</c:v>
                </c:pt>
                <c:pt idx="6">
                  <c:v>19204</c:v>
                </c:pt>
                <c:pt idx="7">
                  <c:v>19235</c:v>
                </c:pt>
                <c:pt idx="8">
                  <c:v>19265</c:v>
                </c:pt>
                <c:pt idx="9">
                  <c:v>19296</c:v>
                </c:pt>
                <c:pt idx="10">
                  <c:v>19326</c:v>
                </c:pt>
                <c:pt idx="11">
                  <c:v>19357</c:v>
                </c:pt>
                <c:pt idx="12">
                  <c:v>19388</c:v>
                </c:pt>
                <c:pt idx="13">
                  <c:v>19416</c:v>
                </c:pt>
                <c:pt idx="14">
                  <c:v>19447</c:v>
                </c:pt>
                <c:pt idx="15">
                  <c:v>19477</c:v>
                </c:pt>
                <c:pt idx="16">
                  <c:v>19508</c:v>
                </c:pt>
              </c:numCache>
            </c:numRef>
          </c:xVal>
          <c:yVal>
            <c:numRef>
              <c:f>Sheet1!$A$3:$Q$3</c:f>
              <c:numCache>
                <c:formatCode>General</c:formatCode>
                <c:ptCount val="17"/>
                <c:pt idx="0">
                  <c:v>2.4</c:v>
                </c:pt>
                <c:pt idx="1">
                  <c:v>3</c:v>
                </c:pt>
                <c:pt idx="2">
                  <c:v>3.4</c:v>
                </c:pt>
                <c:pt idx="3">
                  <c:v>4.4000000000000004</c:v>
                </c:pt>
                <c:pt idx="4">
                  <c:v>4.9000000000000004</c:v>
                </c:pt>
                <c:pt idx="5">
                  <c:v>5.5</c:v>
                </c:pt>
                <c:pt idx="6">
                  <c:v>6.1</c:v>
                </c:pt>
                <c:pt idx="7">
                  <c:v>6.4</c:v>
                </c:pt>
                <c:pt idx="8">
                  <c:v>6.2</c:v>
                </c:pt>
                <c:pt idx="9">
                  <c:v>6.2</c:v>
                </c:pt>
                <c:pt idx="10">
                  <c:v>6.3</c:v>
                </c:pt>
                <c:pt idx="11">
                  <c:v>7</c:v>
                </c:pt>
                <c:pt idx="12">
                  <c:v>7.5</c:v>
                </c:pt>
                <c:pt idx="13">
                  <c:v>7.6</c:v>
                </c:pt>
                <c:pt idx="14">
                  <c:v>7.5</c:v>
                </c:pt>
                <c:pt idx="15">
                  <c:v>6.6</c:v>
                </c:pt>
                <c:pt idx="16">
                  <c:v>6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3-2541-4A04-AE5C-6F51FCE1CA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39146047"/>
        <c:axId val="1"/>
      </c:scatterChart>
      <c:valAx>
        <c:axId val="2139146047"/>
        <c:scaling>
          <c:orientation val="minMax"/>
          <c:max val="19539"/>
          <c:min val="18993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crossBetween val="midCat"/>
      </c:valAx>
      <c:valAx>
        <c:axId val="1"/>
        <c:scaling>
          <c:orientation val="minMax"/>
          <c:max val="10.8"/>
          <c:min val="-0.155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139146047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DA005492-9701-4F38-ADC0-B71FCA5033E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" y="9"/>
            <a:ext cx="2945659" cy="495347"/>
          </a:xfrm>
          <a:prstGeom prst="rect">
            <a:avLst/>
          </a:prstGeom>
        </p:spPr>
        <p:txBody>
          <a:bodyPr vert="horz" lIns="90423" tIns="45212" rIns="90423" bIns="45212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131943D0-5A92-49BB-B464-F7892C30ECD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4" y="9"/>
            <a:ext cx="2945659" cy="495347"/>
          </a:xfrm>
          <a:prstGeom prst="rect">
            <a:avLst/>
          </a:prstGeom>
        </p:spPr>
        <p:txBody>
          <a:bodyPr vert="horz" lIns="90423" tIns="45212" rIns="90423" bIns="45212" rtlCol="0"/>
          <a:lstStyle>
            <a:lvl1pPr algn="r">
              <a:defRPr sz="1200"/>
            </a:lvl1pPr>
          </a:lstStyle>
          <a:p>
            <a:fld id="{A9EE9F88-87DB-484D-9A57-AC36B824A5B9}" type="datetimeFigureOut">
              <a:rPr lang="es-ES" smtClean="0"/>
              <a:t>04/08/2023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EC29361-C7C1-4126-8535-AE5950BFC30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3" y="9377327"/>
            <a:ext cx="2945659" cy="495347"/>
          </a:xfrm>
          <a:prstGeom prst="rect">
            <a:avLst/>
          </a:prstGeom>
        </p:spPr>
        <p:txBody>
          <a:bodyPr vert="horz" lIns="90423" tIns="45212" rIns="90423" bIns="45212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326C882-FBF3-435C-9CE8-EFF9E72E6D8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377327"/>
            <a:ext cx="2945659" cy="495347"/>
          </a:xfrm>
          <a:prstGeom prst="rect">
            <a:avLst/>
          </a:prstGeom>
        </p:spPr>
        <p:txBody>
          <a:bodyPr vert="horz" lIns="90423" tIns="45212" rIns="90423" bIns="45212" rtlCol="0" anchor="b"/>
          <a:lstStyle>
            <a:lvl1pPr algn="r">
              <a:defRPr sz="1200"/>
            </a:lvl1pPr>
          </a:lstStyle>
          <a:p>
            <a:fld id="{967B86F8-04EA-4123-A996-F283FE3F2FB0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920496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3" y="9"/>
            <a:ext cx="2945659" cy="495347"/>
          </a:xfrm>
          <a:prstGeom prst="rect">
            <a:avLst/>
          </a:prstGeom>
        </p:spPr>
        <p:txBody>
          <a:bodyPr vert="horz" lIns="90423" tIns="45212" rIns="90423" bIns="45212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4" y="9"/>
            <a:ext cx="2945659" cy="495347"/>
          </a:xfrm>
          <a:prstGeom prst="rect">
            <a:avLst/>
          </a:prstGeom>
        </p:spPr>
        <p:txBody>
          <a:bodyPr vert="horz" lIns="90423" tIns="45212" rIns="90423" bIns="45212" rtlCol="0"/>
          <a:lstStyle>
            <a:lvl1pPr algn="r">
              <a:defRPr sz="1200"/>
            </a:lvl1pPr>
          </a:lstStyle>
          <a:p>
            <a:fld id="{02EB5965-9454-47E2-8EA2-420A4A5C6F07}" type="datetimeFigureOut">
              <a:rPr lang="es-ES" smtClean="0"/>
              <a:t>04/08/2023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95363" y="1236663"/>
            <a:ext cx="4806950" cy="3327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423" tIns="45212" rIns="90423" bIns="45212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51229"/>
            <a:ext cx="5438140" cy="3887361"/>
          </a:xfrm>
          <a:prstGeom prst="rect">
            <a:avLst/>
          </a:prstGeom>
        </p:spPr>
        <p:txBody>
          <a:bodyPr vert="horz" lIns="90423" tIns="45212" rIns="90423" bIns="45212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3" y="9377327"/>
            <a:ext cx="2945659" cy="495347"/>
          </a:xfrm>
          <a:prstGeom prst="rect">
            <a:avLst/>
          </a:prstGeom>
        </p:spPr>
        <p:txBody>
          <a:bodyPr vert="horz" lIns="90423" tIns="45212" rIns="90423" bIns="45212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377327"/>
            <a:ext cx="2945659" cy="495347"/>
          </a:xfrm>
          <a:prstGeom prst="rect">
            <a:avLst/>
          </a:prstGeom>
        </p:spPr>
        <p:txBody>
          <a:bodyPr vert="horz" lIns="90423" tIns="45212" rIns="90423" bIns="45212" rtlCol="0" anchor="b"/>
          <a:lstStyle>
            <a:lvl1pPr algn="r">
              <a:defRPr sz="1200"/>
            </a:lvl1pPr>
          </a:lstStyle>
          <a:p>
            <a:fld id="{84A9AE24-4606-49FE-BBB2-EE3A0F9E31E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54911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0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8.png"/><Relationship Id="rId4" Type="http://schemas.openxmlformats.org/officeDocument/2006/relationships/image" Target="../media/image10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Imagen que contiene edificio, tabla&#10;&#10;Descripción generada automáticamente">
            <a:extLst>
              <a:ext uri="{FF2B5EF4-FFF2-40B4-BE49-F238E27FC236}">
                <a16:creationId xmlns:a16="http://schemas.microsoft.com/office/drawing/2014/main" id="{2423A499-B506-4DB9-9702-8FD7D84A71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7111856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39253" y="2553950"/>
            <a:ext cx="4386626" cy="1271726"/>
          </a:xfrm>
        </p:spPr>
        <p:txBody>
          <a:bodyPr/>
          <a:lstStyle>
            <a:lvl1pPr marL="0" indent="0" algn="just">
              <a:buNone/>
              <a:defRPr sz="2400">
                <a:latin typeface="Avenir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24792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 descr="Imagen que contiene aeronave, transporte, globo, exterior&#10;&#10;Descripción generada automáticamente">
            <a:extLst>
              <a:ext uri="{FF2B5EF4-FFF2-40B4-BE49-F238E27FC236}">
                <a16:creationId xmlns:a16="http://schemas.microsoft.com/office/drawing/2014/main" id="{EEB10B32-7C64-47BE-9F72-C52104E7AF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7001106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82988229-1202-41CF-81D2-407C410BCEF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82863"/>
            <a:ext cx="9906000" cy="618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9670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A3B221-97DC-4D13-8127-A070B10F3B56}" type="datetime1">
              <a:rPr lang="es-ES" smtClean="0"/>
              <a:t>04/08/2023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B4CA7-5E4C-4639-A184-60D5899B0D8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275925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ED546C-5A8C-4935-8D13-B48C70E4FB4E}" type="datetime1">
              <a:rPr lang="es-ES" smtClean="0"/>
              <a:t>04/08/2023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B4CA7-5E4C-4639-A184-60D5899B0D8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122801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3CCE8F-CEB1-45B1-BA40-B6C1AD52A3E6}" type="datetime1">
              <a:rPr lang="es-ES" smtClean="0"/>
              <a:t>04/08/2023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B4CA7-5E4C-4639-A184-60D5899B0D8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890178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53AD8-BB58-4E1A-AF2F-A1D18987ACC2}" type="datetime1">
              <a:rPr lang="es-ES" smtClean="0"/>
              <a:t>04/08/2023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B4CA7-5E4C-4639-A184-60D5899B0D8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119255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12975-E565-4BD7-882F-6228ABCADF2B}" type="datetimeFigureOut">
              <a:rPr lang="es-ES" smtClean="0"/>
              <a:t>04/08/2023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6B87F-4543-4D1F-8948-22D5B4FD81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947140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D71EC5-31D8-D7AE-9F65-311562EE8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7186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D71EC5-31D8-D7AE-9F65-311562EE8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5">
            <a:extLst>
              <a:ext uri="{FF2B5EF4-FFF2-40B4-BE49-F238E27FC236}">
                <a16:creationId xmlns:a16="http://schemas.microsoft.com/office/drawing/2014/main" id="{94080B44-3CDE-E27F-009A-1DA95EF86D16}"/>
              </a:ext>
            </a:extLst>
          </p:cNvPr>
          <p:cNvSpPr/>
          <p:nvPr userDrawn="1"/>
        </p:nvSpPr>
        <p:spPr>
          <a:xfrm>
            <a:off x="0" y="6312666"/>
            <a:ext cx="9905998" cy="5453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ángulo 6">
            <a:extLst>
              <a:ext uri="{FF2B5EF4-FFF2-40B4-BE49-F238E27FC236}">
                <a16:creationId xmlns:a16="http://schemas.microsoft.com/office/drawing/2014/main" id="{153B9C7E-6859-0A7B-FFF9-D6DE5E0E8682}"/>
              </a:ext>
            </a:extLst>
          </p:cNvPr>
          <p:cNvSpPr/>
          <p:nvPr userDrawn="1"/>
        </p:nvSpPr>
        <p:spPr>
          <a:xfrm>
            <a:off x="2" y="0"/>
            <a:ext cx="9905998" cy="8326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0" name="Conector recto 7">
            <a:extLst>
              <a:ext uri="{FF2B5EF4-FFF2-40B4-BE49-F238E27FC236}">
                <a16:creationId xmlns:a16="http://schemas.microsoft.com/office/drawing/2014/main" id="{3B563EA4-E76A-BC02-0532-3D46A32E0DA0}"/>
              </a:ext>
            </a:extLst>
          </p:cNvPr>
          <p:cNvCxnSpPr/>
          <p:nvPr userDrawn="1"/>
        </p:nvCxnSpPr>
        <p:spPr>
          <a:xfrm>
            <a:off x="0" y="824548"/>
            <a:ext cx="9905998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cto 8">
            <a:extLst>
              <a:ext uri="{FF2B5EF4-FFF2-40B4-BE49-F238E27FC236}">
                <a16:creationId xmlns:a16="http://schemas.microsoft.com/office/drawing/2014/main" id="{009B0F53-9E84-ABD0-0A7A-B710FB2F44A2}"/>
              </a:ext>
            </a:extLst>
          </p:cNvPr>
          <p:cNvCxnSpPr/>
          <p:nvPr userDrawn="1"/>
        </p:nvCxnSpPr>
        <p:spPr>
          <a:xfrm>
            <a:off x="0" y="6316300"/>
            <a:ext cx="9905998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riángulo rectángulo 10">
            <a:extLst>
              <a:ext uri="{FF2B5EF4-FFF2-40B4-BE49-F238E27FC236}">
                <a16:creationId xmlns:a16="http://schemas.microsoft.com/office/drawing/2014/main" id="{CF82B30B-D5FC-20A5-119D-52A118734138}"/>
              </a:ext>
            </a:extLst>
          </p:cNvPr>
          <p:cNvSpPr>
            <a:spLocks noChangeAspect="1"/>
          </p:cNvSpPr>
          <p:nvPr userDrawn="1"/>
        </p:nvSpPr>
        <p:spPr>
          <a:xfrm rot="5400000" flipV="1">
            <a:off x="455432" y="276413"/>
            <a:ext cx="216000" cy="216000"/>
          </a:xfrm>
          <a:prstGeom prst="rtTriangl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CuadroTexto 11">
            <a:extLst>
              <a:ext uri="{FF2B5EF4-FFF2-40B4-BE49-F238E27FC236}">
                <a16:creationId xmlns:a16="http://schemas.microsoft.com/office/drawing/2014/main" id="{EE144AE3-ABA8-F5DE-6C7B-DAD718361C5E}"/>
              </a:ext>
            </a:extLst>
          </p:cNvPr>
          <p:cNvSpPr txBox="1"/>
          <p:nvPr userDrawn="1"/>
        </p:nvSpPr>
        <p:spPr>
          <a:xfrm>
            <a:off x="535560" y="6437895"/>
            <a:ext cx="24585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b="1">
                <a:solidFill>
                  <a:srgbClr val="C00000"/>
                </a:solidFill>
                <a:latin typeface="Avenir" pitchFamily="50" charset="0"/>
              </a:rPr>
              <a:t>|</a:t>
            </a:r>
            <a:endParaRPr lang="es-ES" sz="1200" b="0">
              <a:solidFill>
                <a:schemeClr val="tx1"/>
              </a:solidFill>
              <a:latin typeface="Avenir" pitchFamily="50" charset="0"/>
            </a:endParaRPr>
          </a:p>
          <a:p>
            <a:endParaRPr lang="es-ES" sz="1200">
              <a:solidFill>
                <a:schemeClr val="tx1"/>
              </a:solidFill>
              <a:latin typeface="Avenir" pitchFamily="50" charset="0"/>
            </a:endParaRPr>
          </a:p>
        </p:txBody>
      </p:sp>
      <p:sp>
        <p:nvSpPr>
          <p:cNvPr id="15" name="Título 16">
            <a:extLst>
              <a:ext uri="{FF2B5EF4-FFF2-40B4-BE49-F238E27FC236}">
                <a16:creationId xmlns:a16="http://schemas.microsoft.com/office/drawing/2014/main" id="{D9839C72-78B1-107D-4847-F00FF8BB4D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004" y="224884"/>
            <a:ext cx="8543925" cy="322807"/>
          </a:xfrm>
        </p:spPr>
        <p:txBody>
          <a:bodyPr>
            <a:noAutofit/>
          </a:bodyPr>
          <a:lstStyle>
            <a:lvl1pPr>
              <a:defRPr sz="2000">
                <a:latin typeface="Avenir" panose="020B0503020203020204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82B7A4A-9E3E-A6E7-1E33-363BF02AADA1}"/>
              </a:ext>
            </a:extLst>
          </p:cNvPr>
          <p:cNvSpPr txBox="1">
            <a:spLocks/>
          </p:cNvSpPr>
          <p:nvPr userDrawn="1"/>
        </p:nvSpPr>
        <p:spPr>
          <a:xfrm>
            <a:off x="371321" y="6459182"/>
            <a:ext cx="518497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100" kern="1200">
                <a:solidFill>
                  <a:schemeClr val="tx1"/>
                </a:solidFill>
                <a:latin typeface="Avenir" pitchFamily="50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8CB4CA7-5E4C-4639-A184-60D5899B0D89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17" name="Rectángulo 14">
            <a:extLst>
              <a:ext uri="{FF2B5EF4-FFF2-40B4-BE49-F238E27FC236}">
                <a16:creationId xmlns:a16="http://schemas.microsoft.com/office/drawing/2014/main" id="{FB7AC1C7-5194-7484-8E11-C1F359F79870}"/>
              </a:ext>
            </a:extLst>
          </p:cNvPr>
          <p:cNvSpPr/>
          <p:nvPr userDrawn="1"/>
        </p:nvSpPr>
        <p:spPr>
          <a:xfrm>
            <a:off x="3813809" y="6495675"/>
            <a:ext cx="2278380" cy="186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>
                <a:solidFill>
                  <a:schemeClr val="tx1"/>
                </a:solidFill>
                <a:latin typeface="Avenir" panose="020B0503020203020204"/>
              </a:rPr>
              <a:t>Información confidencial</a:t>
            </a:r>
          </a:p>
        </p:txBody>
      </p:sp>
    </p:spTree>
    <p:extLst>
      <p:ext uri="{BB962C8B-B14F-4D97-AF65-F5344CB8AC3E}">
        <p14:creationId xmlns:p14="http://schemas.microsoft.com/office/powerpoint/2010/main" val="41356046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Imagen que contiene edificio, tabla&#10;&#10;Descripción generada automáticamente">
            <a:extLst>
              <a:ext uri="{FF2B5EF4-FFF2-40B4-BE49-F238E27FC236}">
                <a16:creationId xmlns:a16="http://schemas.microsoft.com/office/drawing/2014/main" id="{2423A499-B506-4DB9-9702-8FD7D84A71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7111856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39253" y="2553950"/>
            <a:ext cx="4386626" cy="1271726"/>
          </a:xfrm>
        </p:spPr>
        <p:txBody>
          <a:bodyPr/>
          <a:lstStyle>
            <a:lvl1pPr marL="0" indent="0" algn="just">
              <a:buNone/>
              <a:defRPr sz="2400">
                <a:latin typeface="Avenir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2315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D71D327E-50AF-4844-8A28-0446EB4F68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38" y="0"/>
            <a:ext cx="9906000" cy="955842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B3138D62-1F81-4AFE-9CFD-32056CBD8A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998" y="5633752"/>
            <a:ext cx="9904762" cy="609524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CF916217-1AF5-427B-85E8-2AA1751356E0}"/>
              </a:ext>
            </a:extLst>
          </p:cNvPr>
          <p:cNvSpPr txBox="1"/>
          <p:nvPr userDrawn="1"/>
        </p:nvSpPr>
        <p:spPr>
          <a:xfrm>
            <a:off x="497566" y="6414738"/>
            <a:ext cx="27998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F6DC97-4364-4032-9DAA-437B21FF1244}" type="slidenum">
              <a:rPr lang="es-ES" sz="12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" pitchFamily="50" charset="0"/>
              </a:rPr>
              <a:t>‹#›</a:t>
            </a:fld>
            <a:r>
              <a:rPr lang="es-ES" sz="1200" b="1">
                <a:solidFill>
                  <a:schemeClr val="tx1">
                    <a:lumMod val="75000"/>
                    <a:lumOff val="25000"/>
                  </a:schemeClr>
                </a:solidFill>
                <a:latin typeface="Avenir" pitchFamily="50" charset="0"/>
              </a:rPr>
              <a:t>  |  Presentación Corporativa</a:t>
            </a:r>
            <a:endParaRPr lang="es-ES" sz="1200">
              <a:latin typeface="Aveni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46002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 descr="Imagen que contiene tabla&#10;&#10;Descripción generada automáticamente">
            <a:extLst>
              <a:ext uri="{FF2B5EF4-FFF2-40B4-BE49-F238E27FC236}">
                <a16:creationId xmlns:a16="http://schemas.microsoft.com/office/drawing/2014/main" id="{7E72D821-FBFA-47DF-B48F-D5E2DA547D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6201"/>
            <a:ext cx="9906000" cy="700475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445" y="-262972"/>
            <a:ext cx="8146472" cy="132556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  <a:latin typeface="Avenir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400">
                <a:latin typeface="Avenir" pitchFamily="50" charset="0"/>
              </a:defRPr>
            </a:lvl1pPr>
            <a:lvl2pPr>
              <a:defRPr sz="2000">
                <a:latin typeface="Avenir" pitchFamily="50" charset="0"/>
              </a:defRPr>
            </a:lvl2pPr>
            <a:lvl3pPr>
              <a:defRPr sz="1800">
                <a:latin typeface="Avenir" pitchFamily="50" charset="0"/>
              </a:defRPr>
            </a:lvl3pPr>
            <a:lvl4pPr>
              <a:defRPr sz="1600">
                <a:latin typeface="Avenir" pitchFamily="50" charset="0"/>
              </a:defRPr>
            </a:lvl4pPr>
            <a:lvl5pPr>
              <a:defRPr sz="1600">
                <a:latin typeface="Avenir" pitchFamily="50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1038" y="6370196"/>
            <a:ext cx="518497" cy="365125"/>
          </a:xfrm>
        </p:spPr>
        <p:txBody>
          <a:bodyPr/>
          <a:lstStyle>
            <a:lvl1pPr algn="l">
              <a:defRPr sz="1100">
                <a:solidFill>
                  <a:schemeClr val="bg1"/>
                </a:solidFill>
                <a:latin typeface="Avenir" pitchFamily="50" charset="0"/>
              </a:defRPr>
            </a:lvl1pPr>
          </a:lstStyle>
          <a:p>
            <a:fld id="{98CB4CA7-5E4C-4639-A184-60D5899B0D89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0BD64E2F-8E1A-43F1-8262-CF9F6ABF43A3}"/>
              </a:ext>
            </a:extLst>
          </p:cNvPr>
          <p:cNvSpPr txBox="1"/>
          <p:nvPr userDrawn="1"/>
        </p:nvSpPr>
        <p:spPr>
          <a:xfrm>
            <a:off x="861630" y="6437895"/>
            <a:ext cx="24585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b="1">
                <a:solidFill>
                  <a:srgbClr val="E01F33"/>
                </a:solidFill>
                <a:latin typeface="Avenir" pitchFamily="50" charset="0"/>
              </a:rPr>
              <a:t>| </a:t>
            </a:r>
            <a:r>
              <a:rPr lang="es-ES" sz="1200" b="0" err="1">
                <a:solidFill>
                  <a:schemeClr val="bg1"/>
                </a:solidFill>
                <a:latin typeface="Avenir" pitchFamily="50" charset="0"/>
              </a:rPr>
              <a:t>Corporate</a:t>
            </a:r>
            <a:r>
              <a:rPr lang="es-ES" sz="1200" b="0">
                <a:solidFill>
                  <a:schemeClr val="bg1"/>
                </a:solidFill>
                <a:latin typeface="Avenir" pitchFamily="50" charset="0"/>
              </a:rPr>
              <a:t> </a:t>
            </a:r>
            <a:r>
              <a:rPr lang="es-ES" sz="1200" b="0" err="1">
                <a:solidFill>
                  <a:schemeClr val="bg1"/>
                </a:solidFill>
                <a:latin typeface="Avenir" pitchFamily="50" charset="0"/>
              </a:rPr>
              <a:t>Presentation</a:t>
            </a:r>
            <a:r>
              <a:rPr lang="es-ES" sz="1200" b="0">
                <a:solidFill>
                  <a:srgbClr val="E01F33"/>
                </a:solidFill>
                <a:latin typeface="Avenir" pitchFamily="50" charset="0"/>
              </a:rPr>
              <a:t> </a:t>
            </a:r>
            <a:endParaRPr lang="es-ES" sz="1200" b="0">
              <a:solidFill>
                <a:schemeClr val="bg1"/>
              </a:solidFill>
              <a:latin typeface="Avenir" pitchFamily="50" charset="0"/>
            </a:endParaRPr>
          </a:p>
          <a:p>
            <a:endParaRPr lang="es-ES" sz="1200">
              <a:latin typeface="Aveni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14234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D71D327E-50AF-4844-8A28-0446EB4F68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38" y="0"/>
            <a:ext cx="9906000" cy="955842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B3138D62-1F81-4AFE-9CFD-32056CBD8A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998" y="5633752"/>
            <a:ext cx="9904762" cy="609524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CF916217-1AF5-427B-85E8-2AA1751356E0}"/>
              </a:ext>
            </a:extLst>
          </p:cNvPr>
          <p:cNvSpPr txBox="1"/>
          <p:nvPr userDrawn="1"/>
        </p:nvSpPr>
        <p:spPr>
          <a:xfrm>
            <a:off x="497566" y="6414738"/>
            <a:ext cx="27998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F6DC97-4364-4032-9DAA-437B21FF1244}" type="slidenum">
              <a:rPr lang="es-ES" sz="12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" pitchFamily="50" charset="0"/>
              </a:rPr>
              <a:t>‹#›</a:t>
            </a:fld>
            <a:r>
              <a:rPr lang="es-ES" sz="1200" b="1">
                <a:solidFill>
                  <a:schemeClr val="tx1">
                    <a:lumMod val="75000"/>
                    <a:lumOff val="25000"/>
                  </a:schemeClr>
                </a:solidFill>
                <a:latin typeface="Avenir" pitchFamily="50" charset="0"/>
              </a:rPr>
              <a:t>  |  Presentación Corporativa</a:t>
            </a:r>
            <a:endParaRPr lang="es-ES" sz="1200">
              <a:latin typeface="Aveni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61270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ángulo 21">
            <a:extLst>
              <a:ext uri="{FF2B5EF4-FFF2-40B4-BE49-F238E27FC236}">
                <a16:creationId xmlns:a16="http://schemas.microsoft.com/office/drawing/2014/main" id="{372B7C42-0767-4C0D-B965-8FE113FA8B9F}"/>
              </a:ext>
            </a:extLst>
          </p:cNvPr>
          <p:cNvSpPr/>
          <p:nvPr userDrawn="1"/>
        </p:nvSpPr>
        <p:spPr>
          <a:xfrm>
            <a:off x="0" y="326571"/>
            <a:ext cx="9906000" cy="591318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21" name="Imagen 20" descr="Imagen en blanco y negro de una torre&#10;&#10;Descripción generada automáticamente">
            <a:extLst>
              <a:ext uri="{FF2B5EF4-FFF2-40B4-BE49-F238E27FC236}">
                <a16:creationId xmlns:a16="http://schemas.microsoft.com/office/drawing/2014/main" id="{DC8676F6-FC8C-4E0F-B87C-582A55467D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6" y="422379"/>
            <a:ext cx="8367173" cy="5817378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7A86905C-9AF9-4080-BF83-D04F0D4C96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39757"/>
            <a:ext cx="9906000" cy="618243"/>
          </a:xfrm>
          <a:prstGeom prst="rect">
            <a:avLst/>
          </a:prstGeom>
        </p:spPr>
      </p:pic>
      <p:sp>
        <p:nvSpPr>
          <p:cNvPr id="23" name="Rectángulo 22">
            <a:extLst>
              <a:ext uri="{FF2B5EF4-FFF2-40B4-BE49-F238E27FC236}">
                <a16:creationId xmlns:a16="http://schemas.microsoft.com/office/drawing/2014/main" id="{808F8A1B-19BD-469F-85FC-B1031A788A49}"/>
              </a:ext>
            </a:extLst>
          </p:cNvPr>
          <p:cNvSpPr/>
          <p:nvPr userDrawn="1"/>
        </p:nvSpPr>
        <p:spPr>
          <a:xfrm>
            <a:off x="0" y="0"/>
            <a:ext cx="9906000" cy="422379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  <a:shade val="30000"/>
                  <a:satMod val="115000"/>
                </a:schemeClr>
              </a:gs>
              <a:gs pos="50000">
                <a:schemeClr val="bg2">
                  <a:lumMod val="50000"/>
                  <a:shade val="67500"/>
                  <a:satMod val="115000"/>
                </a:schemeClr>
              </a:gs>
              <a:gs pos="100000">
                <a:schemeClr val="bg2">
                  <a:lumMod val="50000"/>
                  <a:shade val="100000"/>
                  <a:satMod val="115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356356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A9CC4B87-1F3F-460C-8F46-6E143B0203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8338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A9CC4B87-1F3F-460C-8F46-6E143B020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ángulo 21">
            <a:extLst>
              <a:ext uri="{FF2B5EF4-FFF2-40B4-BE49-F238E27FC236}">
                <a16:creationId xmlns:a16="http://schemas.microsoft.com/office/drawing/2014/main" id="{372B7C42-0767-4C0D-B965-8FE113FA8B9F}"/>
              </a:ext>
            </a:extLst>
          </p:cNvPr>
          <p:cNvSpPr/>
          <p:nvPr userDrawn="1"/>
        </p:nvSpPr>
        <p:spPr>
          <a:xfrm>
            <a:off x="0" y="326571"/>
            <a:ext cx="9906000" cy="591318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Paralelogramo 1">
            <a:extLst>
              <a:ext uri="{FF2B5EF4-FFF2-40B4-BE49-F238E27FC236}">
                <a16:creationId xmlns:a16="http://schemas.microsoft.com/office/drawing/2014/main" id="{8121D294-FF48-450E-8741-61EB30B4DFE2}"/>
              </a:ext>
            </a:extLst>
          </p:cNvPr>
          <p:cNvSpPr/>
          <p:nvPr userDrawn="1"/>
        </p:nvSpPr>
        <p:spPr>
          <a:xfrm>
            <a:off x="4510088" y="409678"/>
            <a:ext cx="3933825" cy="5807576"/>
          </a:xfrm>
          <a:prstGeom prst="parallelogram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elogramo 11">
            <a:extLst>
              <a:ext uri="{FF2B5EF4-FFF2-40B4-BE49-F238E27FC236}">
                <a16:creationId xmlns:a16="http://schemas.microsoft.com/office/drawing/2014/main" id="{03258973-20CD-4208-B4D5-42C9A249D75B}"/>
              </a:ext>
            </a:extLst>
          </p:cNvPr>
          <p:cNvSpPr/>
          <p:nvPr userDrawn="1"/>
        </p:nvSpPr>
        <p:spPr>
          <a:xfrm>
            <a:off x="3759200" y="409676"/>
            <a:ext cx="1330326" cy="5807576"/>
          </a:xfrm>
          <a:prstGeom prst="parallelogram">
            <a:avLst>
              <a:gd name="adj" fmla="val 7367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808F8A1B-19BD-469F-85FC-B1031A788A49}"/>
              </a:ext>
            </a:extLst>
          </p:cNvPr>
          <p:cNvSpPr/>
          <p:nvPr userDrawn="1"/>
        </p:nvSpPr>
        <p:spPr>
          <a:xfrm>
            <a:off x="0" y="0"/>
            <a:ext cx="9906000" cy="422379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  <a:shade val="30000"/>
                  <a:satMod val="115000"/>
                </a:schemeClr>
              </a:gs>
              <a:gs pos="50000">
                <a:schemeClr val="bg2">
                  <a:lumMod val="50000"/>
                  <a:shade val="67500"/>
                  <a:satMod val="115000"/>
                </a:schemeClr>
              </a:gs>
              <a:gs pos="100000">
                <a:schemeClr val="bg2">
                  <a:lumMod val="50000"/>
                  <a:shade val="100000"/>
                  <a:satMod val="115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7A86905C-9AF9-4080-BF83-D04F0D4C96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17253"/>
            <a:ext cx="9906000" cy="640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5829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94A48F-48D0-4177-A77F-74891E7C2AF8}" type="datetime1">
              <a:rPr lang="es-ES" smtClean="0"/>
              <a:t>04/08/2023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B4CA7-5E4C-4639-A184-60D5899B0D8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097855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89D7A5-48E5-469F-A67B-F14E2263D6B4}" type="datetime1">
              <a:rPr lang="es-ES" smtClean="0"/>
              <a:t>04/08/2023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B4CA7-5E4C-4639-A184-60D5899B0D8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572163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F2F8ADD3-5368-4022-BFC4-E69F17DC0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6464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F2F8ADD3-5368-4022-BFC4-E69F17DC0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ángulo 15">
            <a:extLst>
              <a:ext uri="{FF2B5EF4-FFF2-40B4-BE49-F238E27FC236}">
                <a16:creationId xmlns:a16="http://schemas.microsoft.com/office/drawing/2014/main" id="{AF3DE80D-3EB2-4364-82BB-327257409C25}"/>
              </a:ext>
            </a:extLst>
          </p:cNvPr>
          <p:cNvSpPr/>
          <p:nvPr userDrawn="1"/>
        </p:nvSpPr>
        <p:spPr>
          <a:xfrm>
            <a:off x="0" y="6312666"/>
            <a:ext cx="9905998" cy="5453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FA01C499-AFB4-4CD6-B034-A1136DA251F8}"/>
              </a:ext>
            </a:extLst>
          </p:cNvPr>
          <p:cNvSpPr/>
          <p:nvPr userDrawn="1"/>
        </p:nvSpPr>
        <p:spPr>
          <a:xfrm>
            <a:off x="2" y="0"/>
            <a:ext cx="9905998" cy="7455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89047F9-2B7B-47FF-941A-14B665EA5A25}"/>
              </a:ext>
            </a:extLst>
          </p:cNvPr>
          <p:cNvCxnSpPr/>
          <p:nvPr userDrawn="1"/>
        </p:nvCxnSpPr>
        <p:spPr>
          <a:xfrm>
            <a:off x="0" y="745537"/>
            <a:ext cx="9905998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C6D611ED-D1A8-4573-BA20-AB1A77D537C5}"/>
              </a:ext>
            </a:extLst>
          </p:cNvPr>
          <p:cNvCxnSpPr/>
          <p:nvPr userDrawn="1"/>
        </p:nvCxnSpPr>
        <p:spPr>
          <a:xfrm>
            <a:off x="0" y="6316300"/>
            <a:ext cx="9905998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6">
            <a:extLst>
              <a:ext uri="{FF2B5EF4-FFF2-40B4-BE49-F238E27FC236}">
                <a16:creationId xmlns:a16="http://schemas.microsoft.com/office/drawing/2014/main" id="{CAA83B75-3B45-49C3-94EC-D9C9181F09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8056" y="6473060"/>
            <a:ext cx="1485283" cy="200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riángulo rectángulo 19">
            <a:extLst>
              <a:ext uri="{FF2B5EF4-FFF2-40B4-BE49-F238E27FC236}">
                <a16:creationId xmlns:a16="http://schemas.microsoft.com/office/drawing/2014/main" id="{EF268C56-4003-4D24-A61B-341E5E38A8AF}"/>
              </a:ext>
            </a:extLst>
          </p:cNvPr>
          <p:cNvSpPr>
            <a:spLocks noChangeAspect="1"/>
          </p:cNvSpPr>
          <p:nvPr userDrawn="1"/>
        </p:nvSpPr>
        <p:spPr>
          <a:xfrm rot="5400000" flipV="1">
            <a:off x="455432" y="276413"/>
            <a:ext cx="216000" cy="216000"/>
          </a:xfrm>
          <a:prstGeom prst="rtTriangl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31E4E3A9-3C31-4881-BE58-6450345113F9}"/>
              </a:ext>
            </a:extLst>
          </p:cNvPr>
          <p:cNvSpPr txBox="1"/>
          <p:nvPr userDrawn="1"/>
        </p:nvSpPr>
        <p:spPr>
          <a:xfrm>
            <a:off x="535560" y="6437895"/>
            <a:ext cx="24585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b="1">
                <a:solidFill>
                  <a:srgbClr val="C00000"/>
                </a:solidFill>
                <a:latin typeface="Avenir" pitchFamily="50" charset="0"/>
              </a:rPr>
              <a:t>|</a:t>
            </a:r>
            <a:endParaRPr lang="es-ES" sz="1200" b="0">
              <a:solidFill>
                <a:schemeClr val="tx1"/>
              </a:solidFill>
              <a:latin typeface="Avenir" pitchFamily="50" charset="0"/>
            </a:endParaRPr>
          </a:p>
          <a:p>
            <a:endParaRPr lang="es-ES" sz="1200">
              <a:solidFill>
                <a:schemeClr val="tx1"/>
              </a:solidFill>
              <a:latin typeface="Avenir" pitchFamily="50" charset="0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5261C8ED-24AF-42D2-914B-E47FE00CE928}"/>
              </a:ext>
            </a:extLst>
          </p:cNvPr>
          <p:cNvSpPr/>
          <p:nvPr userDrawn="1"/>
        </p:nvSpPr>
        <p:spPr>
          <a:xfrm>
            <a:off x="3813809" y="6495675"/>
            <a:ext cx="2278380" cy="186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>
                <a:solidFill>
                  <a:schemeClr val="tx1"/>
                </a:solidFill>
                <a:latin typeface="Avenir" panose="020B0503020203020204"/>
              </a:rPr>
              <a:t>Información confidencial</a:t>
            </a:r>
          </a:p>
        </p:txBody>
      </p:sp>
    </p:spTree>
    <p:extLst>
      <p:ext uri="{BB962C8B-B14F-4D97-AF65-F5344CB8AC3E}">
        <p14:creationId xmlns:p14="http://schemas.microsoft.com/office/powerpoint/2010/main" val="1402064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extLst>
              <a:ext uri="{FF2B5EF4-FFF2-40B4-BE49-F238E27FC236}">
                <a16:creationId xmlns:a16="http://schemas.microsoft.com/office/drawing/2014/main" id="{FA01C499-AFB4-4CD6-B034-A1136DA251F8}"/>
              </a:ext>
            </a:extLst>
          </p:cNvPr>
          <p:cNvSpPr/>
          <p:nvPr userDrawn="1"/>
        </p:nvSpPr>
        <p:spPr>
          <a:xfrm>
            <a:off x="2" y="0"/>
            <a:ext cx="9905998" cy="7455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89047F9-2B7B-47FF-941A-14B665EA5A25}"/>
              </a:ext>
            </a:extLst>
          </p:cNvPr>
          <p:cNvCxnSpPr/>
          <p:nvPr userDrawn="1"/>
        </p:nvCxnSpPr>
        <p:spPr>
          <a:xfrm>
            <a:off x="0" y="745537"/>
            <a:ext cx="9905998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riángulo rectángulo 19">
            <a:extLst>
              <a:ext uri="{FF2B5EF4-FFF2-40B4-BE49-F238E27FC236}">
                <a16:creationId xmlns:a16="http://schemas.microsoft.com/office/drawing/2014/main" id="{EF268C56-4003-4D24-A61B-341E5E38A8AF}"/>
              </a:ext>
            </a:extLst>
          </p:cNvPr>
          <p:cNvSpPr>
            <a:spLocks noChangeAspect="1"/>
          </p:cNvSpPr>
          <p:nvPr userDrawn="1"/>
        </p:nvSpPr>
        <p:spPr>
          <a:xfrm rot="5400000" flipV="1">
            <a:off x="455432" y="276413"/>
            <a:ext cx="216000" cy="216000"/>
          </a:xfrm>
          <a:prstGeom prst="rtTriangl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6037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 descr="Imagen que contiene aeronave, transporte, globo, exterior&#10;&#10;Descripción generada automáticamente">
            <a:extLst>
              <a:ext uri="{FF2B5EF4-FFF2-40B4-BE49-F238E27FC236}">
                <a16:creationId xmlns:a16="http://schemas.microsoft.com/office/drawing/2014/main" id="{EEB10B32-7C64-47BE-9F72-C52104E7AF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7001106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82988229-1202-41CF-81D2-407C410BCEF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82863"/>
            <a:ext cx="9906000" cy="618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9809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A3B221-97DC-4D13-8127-A070B10F3B56}" type="datetime1">
              <a:rPr lang="es-ES" smtClean="0"/>
              <a:t>04/08/2023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B4CA7-5E4C-4639-A184-60D5899B0D8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100451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ED546C-5A8C-4935-8D13-B48C70E4FB4E}" type="datetime1">
              <a:rPr lang="es-ES" smtClean="0"/>
              <a:t>04/08/2023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B4CA7-5E4C-4639-A184-60D5899B0D8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370898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3CCE8F-CEB1-45B1-BA40-B6C1AD52A3E6}" type="datetime1">
              <a:rPr lang="es-ES" smtClean="0"/>
              <a:t>04/08/2023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B4CA7-5E4C-4639-A184-60D5899B0D8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714208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 descr="Imagen que contiene tabla&#10;&#10;Descripción generada automáticamente">
            <a:extLst>
              <a:ext uri="{FF2B5EF4-FFF2-40B4-BE49-F238E27FC236}">
                <a16:creationId xmlns:a16="http://schemas.microsoft.com/office/drawing/2014/main" id="{7E72D821-FBFA-47DF-B48F-D5E2DA547D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6201"/>
            <a:ext cx="9906000" cy="700475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445" y="-262972"/>
            <a:ext cx="8146472" cy="132556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  <a:latin typeface="Avenir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400">
                <a:latin typeface="Avenir" pitchFamily="50" charset="0"/>
              </a:defRPr>
            </a:lvl1pPr>
            <a:lvl2pPr>
              <a:defRPr sz="2000">
                <a:latin typeface="Avenir" pitchFamily="50" charset="0"/>
              </a:defRPr>
            </a:lvl2pPr>
            <a:lvl3pPr>
              <a:defRPr sz="1800">
                <a:latin typeface="Avenir" pitchFamily="50" charset="0"/>
              </a:defRPr>
            </a:lvl3pPr>
            <a:lvl4pPr>
              <a:defRPr sz="1600">
                <a:latin typeface="Avenir" pitchFamily="50" charset="0"/>
              </a:defRPr>
            </a:lvl4pPr>
            <a:lvl5pPr>
              <a:defRPr sz="1600">
                <a:latin typeface="Avenir" pitchFamily="50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1038" y="6370196"/>
            <a:ext cx="518497" cy="365125"/>
          </a:xfrm>
        </p:spPr>
        <p:txBody>
          <a:bodyPr/>
          <a:lstStyle>
            <a:lvl1pPr algn="l">
              <a:defRPr sz="1100">
                <a:solidFill>
                  <a:schemeClr val="bg1"/>
                </a:solidFill>
                <a:latin typeface="Avenir" pitchFamily="50" charset="0"/>
              </a:defRPr>
            </a:lvl1pPr>
          </a:lstStyle>
          <a:p>
            <a:fld id="{98CB4CA7-5E4C-4639-A184-60D5899B0D89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0BD64E2F-8E1A-43F1-8262-CF9F6ABF43A3}"/>
              </a:ext>
            </a:extLst>
          </p:cNvPr>
          <p:cNvSpPr txBox="1"/>
          <p:nvPr userDrawn="1"/>
        </p:nvSpPr>
        <p:spPr>
          <a:xfrm>
            <a:off x="861630" y="6437895"/>
            <a:ext cx="24585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b="1">
                <a:solidFill>
                  <a:srgbClr val="E01F33"/>
                </a:solidFill>
                <a:latin typeface="Avenir" pitchFamily="50" charset="0"/>
              </a:rPr>
              <a:t>| </a:t>
            </a:r>
            <a:r>
              <a:rPr lang="es-ES" sz="1200" b="0" err="1">
                <a:solidFill>
                  <a:schemeClr val="bg1"/>
                </a:solidFill>
                <a:latin typeface="Avenir" pitchFamily="50" charset="0"/>
              </a:rPr>
              <a:t>Corporate</a:t>
            </a:r>
            <a:r>
              <a:rPr lang="es-ES" sz="1200" b="0">
                <a:solidFill>
                  <a:schemeClr val="bg1"/>
                </a:solidFill>
                <a:latin typeface="Avenir" pitchFamily="50" charset="0"/>
              </a:rPr>
              <a:t> </a:t>
            </a:r>
            <a:r>
              <a:rPr lang="es-ES" sz="1200" b="0" err="1">
                <a:solidFill>
                  <a:schemeClr val="bg1"/>
                </a:solidFill>
                <a:latin typeface="Avenir" pitchFamily="50" charset="0"/>
              </a:rPr>
              <a:t>Presentation</a:t>
            </a:r>
            <a:r>
              <a:rPr lang="es-ES" sz="1200" b="0">
                <a:solidFill>
                  <a:srgbClr val="E01F33"/>
                </a:solidFill>
                <a:latin typeface="Avenir" pitchFamily="50" charset="0"/>
              </a:rPr>
              <a:t> </a:t>
            </a:r>
            <a:endParaRPr lang="es-ES" sz="1200" b="0">
              <a:solidFill>
                <a:schemeClr val="bg1"/>
              </a:solidFill>
              <a:latin typeface="Avenir" pitchFamily="50" charset="0"/>
            </a:endParaRPr>
          </a:p>
          <a:p>
            <a:endParaRPr lang="es-ES" sz="1200">
              <a:latin typeface="Aveni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41365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53AD8-BB58-4E1A-AF2F-A1D18987ACC2}" type="datetime1">
              <a:rPr lang="es-ES" smtClean="0"/>
              <a:t>04/08/2023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B4CA7-5E4C-4639-A184-60D5899B0D8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388521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12975-E565-4BD7-882F-6228ABCADF2B}" type="datetimeFigureOut">
              <a:rPr lang="es-ES" smtClean="0"/>
              <a:t>04/08/2023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96B87F-4543-4D1F-8948-22D5B4FD81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282292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D71EC5-31D8-D7AE-9F65-311562EE8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7186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D71EC5-31D8-D7AE-9F65-311562EE8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5">
            <a:extLst>
              <a:ext uri="{FF2B5EF4-FFF2-40B4-BE49-F238E27FC236}">
                <a16:creationId xmlns:a16="http://schemas.microsoft.com/office/drawing/2014/main" id="{94080B44-3CDE-E27F-009A-1DA95EF86D16}"/>
              </a:ext>
            </a:extLst>
          </p:cNvPr>
          <p:cNvSpPr/>
          <p:nvPr userDrawn="1"/>
        </p:nvSpPr>
        <p:spPr>
          <a:xfrm>
            <a:off x="0" y="6312666"/>
            <a:ext cx="9905998" cy="5453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ángulo 6">
            <a:extLst>
              <a:ext uri="{FF2B5EF4-FFF2-40B4-BE49-F238E27FC236}">
                <a16:creationId xmlns:a16="http://schemas.microsoft.com/office/drawing/2014/main" id="{153B9C7E-6859-0A7B-FFF9-D6DE5E0E8682}"/>
              </a:ext>
            </a:extLst>
          </p:cNvPr>
          <p:cNvSpPr/>
          <p:nvPr userDrawn="1"/>
        </p:nvSpPr>
        <p:spPr>
          <a:xfrm>
            <a:off x="2" y="0"/>
            <a:ext cx="9905998" cy="8326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0" name="Conector recto 7">
            <a:extLst>
              <a:ext uri="{FF2B5EF4-FFF2-40B4-BE49-F238E27FC236}">
                <a16:creationId xmlns:a16="http://schemas.microsoft.com/office/drawing/2014/main" id="{3B563EA4-E76A-BC02-0532-3D46A32E0DA0}"/>
              </a:ext>
            </a:extLst>
          </p:cNvPr>
          <p:cNvCxnSpPr/>
          <p:nvPr userDrawn="1"/>
        </p:nvCxnSpPr>
        <p:spPr>
          <a:xfrm>
            <a:off x="0" y="824548"/>
            <a:ext cx="9905998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cto 8">
            <a:extLst>
              <a:ext uri="{FF2B5EF4-FFF2-40B4-BE49-F238E27FC236}">
                <a16:creationId xmlns:a16="http://schemas.microsoft.com/office/drawing/2014/main" id="{009B0F53-9E84-ABD0-0A7A-B710FB2F44A2}"/>
              </a:ext>
            </a:extLst>
          </p:cNvPr>
          <p:cNvCxnSpPr/>
          <p:nvPr userDrawn="1"/>
        </p:nvCxnSpPr>
        <p:spPr>
          <a:xfrm>
            <a:off x="0" y="6316300"/>
            <a:ext cx="9905998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riángulo rectángulo 10">
            <a:extLst>
              <a:ext uri="{FF2B5EF4-FFF2-40B4-BE49-F238E27FC236}">
                <a16:creationId xmlns:a16="http://schemas.microsoft.com/office/drawing/2014/main" id="{CF82B30B-D5FC-20A5-119D-52A118734138}"/>
              </a:ext>
            </a:extLst>
          </p:cNvPr>
          <p:cNvSpPr>
            <a:spLocks noChangeAspect="1"/>
          </p:cNvSpPr>
          <p:nvPr userDrawn="1"/>
        </p:nvSpPr>
        <p:spPr>
          <a:xfrm rot="5400000" flipV="1">
            <a:off x="455432" y="276413"/>
            <a:ext cx="216000" cy="216000"/>
          </a:xfrm>
          <a:prstGeom prst="rtTriangl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CuadroTexto 11">
            <a:extLst>
              <a:ext uri="{FF2B5EF4-FFF2-40B4-BE49-F238E27FC236}">
                <a16:creationId xmlns:a16="http://schemas.microsoft.com/office/drawing/2014/main" id="{EE144AE3-ABA8-F5DE-6C7B-DAD718361C5E}"/>
              </a:ext>
            </a:extLst>
          </p:cNvPr>
          <p:cNvSpPr txBox="1"/>
          <p:nvPr userDrawn="1"/>
        </p:nvSpPr>
        <p:spPr>
          <a:xfrm>
            <a:off x="535560" y="6437895"/>
            <a:ext cx="24585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b="1">
                <a:solidFill>
                  <a:srgbClr val="C00000"/>
                </a:solidFill>
                <a:latin typeface="Avenir" pitchFamily="50" charset="0"/>
              </a:rPr>
              <a:t>|</a:t>
            </a:r>
            <a:endParaRPr lang="es-ES" sz="1200" b="0">
              <a:solidFill>
                <a:schemeClr val="tx1"/>
              </a:solidFill>
              <a:latin typeface="Avenir" pitchFamily="50" charset="0"/>
            </a:endParaRPr>
          </a:p>
          <a:p>
            <a:endParaRPr lang="es-ES" sz="1200">
              <a:solidFill>
                <a:schemeClr val="tx1"/>
              </a:solidFill>
              <a:latin typeface="Avenir" pitchFamily="50" charset="0"/>
            </a:endParaRPr>
          </a:p>
        </p:txBody>
      </p:sp>
      <p:sp>
        <p:nvSpPr>
          <p:cNvPr id="15" name="Título 16">
            <a:extLst>
              <a:ext uri="{FF2B5EF4-FFF2-40B4-BE49-F238E27FC236}">
                <a16:creationId xmlns:a16="http://schemas.microsoft.com/office/drawing/2014/main" id="{D9839C72-78B1-107D-4847-F00FF8BB4D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1004" y="224884"/>
            <a:ext cx="8543925" cy="322807"/>
          </a:xfrm>
        </p:spPr>
        <p:txBody>
          <a:bodyPr>
            <a:noAutofit/>
          </a:bodyPr>
          <a:lstStyle>
            <a:lvl1pPr>
              <a:defRPr sz="2000">
                <a:latin typeface="Avenir" panose="020B0503020203020204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82B7A4A-9E3E-A6E7-1E33-363BF02AADA1}"/>
              </a:ext>
            </a:extLst>
          </p:cNvPr>
          <p:cNvSpPr txBox="1">
            <a:spLocks/>
          </p:cNvSpPr>
          <p:nvPr userDrawn="1"/>
        </p:nvSpPr>
        <p:spPr>
          <a:xfrm>
            <a:off x="371321" y="6459182"/>
            <a:ext cx="518497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100" kern="1200">
                <a:solidFill>
                  <a:schemeClr val="tx1"/>
                </a:solidFill>
                <a:latin typeface="Avenir" pitchFamily="50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8CB4CA7-5E4C-4639-A184-60D5899B0D89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17" name="Rectángulo 14">
            <a:extLst>
              <a:ext uri="{FF2B5EF4-FFF2-40B4-BE49-F238E27FC236}">
                <a16:creationId xmlns:a16="http://schemas.microsoft.com/office/drawing/2014/main" id="{FB7AC1C7-5194-7484-8E11-C1F359F79870}"/>
              </a:ext>
            </a:extLst>
          </p:cNvPr>
          <p:cNvSpPr/>
          <p:nvPr userDrawn="1"/>
        </p:nvSpPr>
        <p:spPr>
          <a:xfrm>
            <a:off x="3813809" y="6495675"/>
            <a:ext cx="2278380" cy="186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>
                <a:solidFill>
                  <a:schemeClr val="tx1"/>
                </a:solidFill>
                <a:latin typeface="Avenir" panose="020B0503020203020204"/>
              </a:rPr>
              <a:t>Información confidencial</a:t>
            </a: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FC437DD8-A683-560E-23A4-0848CD62C1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8056" y="6473060"/>
            <a:ext cx="1485283" cy="200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06266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ángulo 21">
            <a:extLst>
              <a:ext uri="{FF2B5EF4-FFF2-40B4-BE49-F238E27FC236}">
                <a16:creationId xmlns:a16="http://schemas.microsoft.com/office/drawing/2014/main" id="{372B7C42-0767-4C0D-B965-8FE113FA8B9F}"/>
              </a:ext>
            </a:extLst>
          </p:cNvPr>
          <p:cNvSpPr/>
          <p:nvPr userDrawn="1"/>
        </p:nvSpPr>
        <p:spPr>
          <a:xfrm>
            <a:off x="0" y="326571"/>
            <a:ext cx="9906000" cy="591318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21" name="Imagen 20" descr="Imagen en blanco y negro de una torre&#10;&#10;Descripción generada automáticamente">
            <a:extLst>
              <a:ext uri="{FF2B5EF4-FFF2-40B4-BE49-F238E27FC236}">
                <a16:creationId xmlns:a16="http://schemas.microsoft.com/office/drawing/2014/main" id="{DC8676F6-FC8C-4E0F-B87C-582A55467D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6" y="422379"/>
            <a:ext cx="8367173" cy="5817378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7A86905C-9AF9-4080-BF83-D04F0D4C96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39757"/>
            <a:ext cx="9906000" cy="618243"/>
          </a:xfrm>
          <a:prstGeom prst="rect">
            <a:avLst/>
          </a:prstGeom>
        </p:spPr>
      </p:pic>
      <p:sp>
        <p:nvSpPr>
          <p:cNvPr id="23" name="Rectángulo 22">
            <a:extLst>
              <a:ext uri="{FF2B5EF4-FFF2-40B4-BE49-F238E27FC236}">
                <a16:creationId xmlns:a16="http://schemas.microsoft.com/office/drawing/2014/main" id="{808F8A1B-19BD-469F-85FC-B1031A788A49}"/>
              </a:ext>
            </a:extLst>
          </p:cNvPr>
          <p:cNvSpPr/>
          <p:nvPr userDrawn="1"/>
        </p:nvSpPr>
        <p:spPr>
          <a:xfrm>
            <a:off x="0" y="0"/>
            <a:ext cx="9906000" cy="422379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  <a:shade val="30000"/>
                  <a:satMod val="115000"/>
                </a:schemeClr>
              </a:gs>
              <a:gs pos="50000">
                <a:schemeClr val="bg2">
                  <a:lumMod val="50000"/>
                  <a:shade val="67500"/>
                  <a:satMod val="115000"/>
                </a:schemeClr>
              </a:gs>
              <a:gs pos="100000">
                <a:schemeClr val="bg2">
                  <a:lumMod val="50000"/>
                  <a:shade val="100000"/>
                  <a:satMod val="115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992846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A9CC4B87-1F3F-460C-8F46-6E143B0203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8338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A9CC4B87-1F3F-460C-8F46-6E143B020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ángulo 21">
            <a:extLst>
              <a:ext uri="{FF2B5EF4-FFF2-40B4-BE49-F238E27FC236}">
                <a16:creationId xmlns:a16="http://schemas.microsoft.com/office/drawing/2014/main" id="{372B7C42-0767-4C0D-B965-8FE113FA8B9F}"/>
              </a:ext>
            </a:extLst>
          </p:cNvPr>
          <p:cNvSpPr/>
          <p:nvPr userDrawn="1"/>
        </p:nvSpPr>
        <p:spPr>
          <a:xfrm>
            <a:off x="0" y="326571"/>
            <a:ext cx="9906000" cy="591318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Paralelogramo 1">
            <a:extLst>
              <a:ext uri="{FF2B5EF4-FFF2-40B4-BE49-F238E27FC236}">
                <a16:creationId xmlns:a16="http://schemas.microsoft.com/office/drawing/2014/main" id="{8121D294-FF48-450E-8741-61EB30B4DFE2}"/>
              </a:ext>
            </a:extLst>
          </p:cNvPr>
          <p:cNvSpPr/>
          <p:nvPr userDrawn="1"/>
        </p:nvSpPr>
        <p:spPr>
          <a:xfrm>
            <a:off x="4510088" y="409678"/>
            <a:ext cx="3933825" cy="5807576"/>
          </a:xfrm>
          <a:prstGeom prst="parallelogram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elogramo 11">
            <a:extLst>
              <a:ext uri="{FF2B5EF4-FFF2-40B4-BE49-F238E27FC236}">
                <a16:creationId xmlns:a16="http://schemas.microsoft.com/office/drawing/2014/main" id="{03258973-20CD-4208-B4D5-42C9A249D75B}"/>
              </a:ext>
            </a:extLst>
          </p:cNvPr>
          <p:cNvSpPr/>
          <p:nvPr userDrawn="1"/>
        </p:nvSpPr>
        <p:spPr>
          <a:xfrm>
            <a:off x="3759200" y="409676"/>
            <a:ext cx="1330326" cy="5807576"/>
          </a:xfrm>
          <a:prstGeom prst="parallelogram">
            <a:avLst>
              <a:gd name="adj" fmla="val 7367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808F8A1B-19BD-469F-85FC-B1031A788A49}"/>
              </a:ext>
            </a:extLst>
          </p:cNvPr>
          <p:cNvSpPr/>
          <p:nvPr userDrawn="1"/>
        </p:nvSpPr>
        <p:spPr>
          <a:xfrm>
            <a:off x="0" y="0"/>
            <a:ext cx="9906000" cy="422379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  <a:shade val="30000"/>
                  <a:satMod val="115000"/>
                </a:schemeClr>
              </a:gs>
              <a:gs pos="50000">
                <a:schemeClr val="bg2">
                  <a:lumMod val="50000"/>
                  <a:shade val="67500"/>
                  <a:satMod val="115000"/>
                </a:schemeClr>
              </a:gs>
              <a:gs pos="100000">
                <a:schemeClr val="bg2">
                  <a:lumMod val="50000"/>
                  <a:shade val="100000"/>
                  <a:satMod val="115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7A86905C-9AF9-4080-BF83-D04F0D4C96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17253"/>
            <a:ext cx="9906000" cy="640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6439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94A48F-48D0-4177-A77F-74891E7C2AF8}" type="datetime1">
              <a:rPr lang="es-ES" smtClean="0"/>
              <a:t>04/08/2023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B4CA7-5E4C-4639-A184-60D5899B0D8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91558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89D7A5-48E5-469F-A67B-F14E2263D6B4}" type="datetime1">
              <a:rPr lang="es-ES" smtClean="0"/>
              <a:t>04/08/2023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B4CA7-5E4C-4639-A184-60D5899B0D8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056555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F2F8ADD3-5368-4022-BFC4-E69F17DC0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6464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F2F8ADD3-5368-4022-BFC4-E69F17DC0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ángulo 15">
            <a:extLst>
              <a:ext uri="{FF2B5EF4-FFF2-40B4-BE49-F238E27FC236}">
                <a16:creationId xmlns:a16="http://schemas.microsoft.com/office/drawing/2014/main" id="{AF3DE80D-3EB2-4364-82BB-327257409C25}"/>
              </a:ext>
            </a:extLst>
          </p:cNvPr>
          <p:cNvSpPr/>
          <p:nvPr userDrawn="1"/>
        </p:nvSpPr>
        <p:spPr>
          <a:xfrm>
            <a:off x="0" y="6312666"/>
            <a:ext cx="9905998" cy="5453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FA01C499-AFB4-4CD6-B034-A1136DA251F8}"/>
              </a:ext>
            </a:extLst>
          </p:cNvPr>
          <p:cNvSpPr/>
          <p:nvPr userDrawn="1"/>
        </p:nvSpPr>
        <p:spPr>
          <a:xfrm>
            <a:off x="2" y="0"/>
            <a:ext cx="9905998" cy="7455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89047F9-2B7B-47FF-941A-14B665EA5A25}"/>
              </a:ext>
            </a:extLst>
          </p:cNvPr>
          <p:cNvCxnSpPr/>
          <p:nvPr userDrawn="1"/>
        </p:nvCxnSpPr>
        <p:spPr>
          <a:xfrm>
            <a:off x="0" y="745537"/>
            <a:ext cx="9905998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C6D611ED-D1A8-4573-BA20-AB1A77D537C5}"/>
              </a:ext>
            </a:extLst>
          </p:cNvPr>
          <p:cNvCxnSpPr/>
          <p:nvPr userDrawn="1"/>
        </p:nvCxnSpPr>
        <p:spPr>
          <a:xfrm>
            <a:off x="0" y="6316300"/>
            <a:ext cx="9905998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6">
            <a:extLst>
              <a:ext uri="{FF2B5EF4-FFF2-40B4-BE49-F238E27FC236}">
                <a16:creationId xmlns:a16="http://schemas.microsoft.com/office/drawing/2014/main" id="{CAA83B75-3B45-49C3-94EC-D9C9181F09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8056" y="6473060"/>
            <a:ext cx="1485283" cy="200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riángulo rectángulo 19">
            <a:extLst>
              <a:ext uri="{FF2B5EF4-FFF2-40B4-BE49-F238E27FC236}">
                <a16:creationId xmlns:a16="http://schemas.microsoft.com/office/drawing/2014/main" id="{EF268C56-4003-4D24-A61B-341E5E38A8AF}"/>
              </a:ext>
            </a:extLst>
          </p:cNvPr>
          <p:cNvSpPr>
            <a:spLocks noChangeAspect="1"/>
          </p:cNvSpPr>
          <p:nvPr userDrawn="1"/>
        </p:nvSpPr>
        <p:spPr>
          <a:xfrm rot="5400000" flipV="1">
            <a:off x="455432" y="276413"/>
            <a:ext cx="216000" cy="216000"/>
          </a:xfrm>
          <a:prstGeom prst="rtTriangl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31E4E3A9-3C31-4881-BE58-6450345113F9}"/>
              </a:ext>
            </a:extLst>
          </p:cNvPr>
          <p:cNvSpPr txBox="1"/>
          <p:nvPr userDrawn="1"/>
        </p:nvSpPr>
        <p:spPr>
          <a:xfrm>
            <a:off x="535560" y="6437895"/>
            <a:ext cx="24585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b="1">
                <a:solidFill>
                  <a:srgbClr val="C00000"/>
                </a:solidFill>
                <a:latin typeface="Avenir" pitchFamily="50" charset="0"/>
              </a:rPr>
              <a:t>|</a:t>
            </a:r>
            <a:endParaRPr lang="es-ES" sz="1200" b="0">
              <a:solidFill>
                <a:schemeClr val="tx1"/>
              </a:solidFill>
              <a:latin typeface="Avenir" pitchFamily="50" charset="0"/>
            </a:endParaRPr>
          </a:p>
          <a:p>
            <a:endParaRPr lang="es-ES" sz="1200">
              <a:solidFill>
                <a:schemeClr val="tx1"/>
              </a:solidFill>
              <a:latin typeface="Avenir" pitchFamily="50" charset="0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5261C8ED-24AF-42D2-914B-E47FE00CE928}"/>
              </a:ext>
            </a:extLst>
          </p:cNvPr>
          <p:cNvSpPr/>
          <p:nvPr userDrawn="1"/>
        </p:nvSpPr>
        <p:spPr>
          <a:xfrm>
            <a:off x="3813809" y="6495675"/>
            <a:ext cx="2278380" cy="186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>
                <a:solidFill>
                  <a:schemeClr val="tx1"/>
                </a:solidFill>
                <a:latin typeface="Avenir" panose="020B0503020203020204"/>
              </a:rPr>
              <a:t>Información confidencial</a:t>
            </a:r>
          </a:p>
        </p:txBody>
      </p:sp>
    </p:spTree>
    <p:extLst>
      <p:ext uri="{BB962C8B-B14F-4D97-AF65-F5344CB8AC3E}">
        <p14:creationId xmlns:p14="http://schemas.microsoft.com/office/powerpoint/2010/main" val="2230174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1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extLst>
              <a:ext uri="{FF2B5EF4-FFF2-40B4-BE49-F238E27FC236}">
                <a16:creationId xmlns:a16="http://schemas.microsoft.com/office/drawing/2014/main" id="{FA01C499-AFB4-4CD6-B034-A1136DA251F8}"/>
              </a:ext>
            </a:extLst>
          </p:cNvPr>
          <p:cNvSpPr/>
          <p:nvPr userDrawn="1"/>
        </p:nvSpPr>
        <p:spPr>
          <a:xfrm>
            <a:off x="2" y="0"/>
            <a:ext cx="9905998" cy="7455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89047F9-2B7B-47FF-941A-14B665EA5A25}"/>
              </a:ext>
            </a:extLst>
          </p:cNvPr>
          <p:cNvCxnSpPr/>
          <p:nvPr userDrawn="1"/>
        </p:nvCxnSpPr>
        <p:spPr>
          <a:xfrm>
            <a:off x="0" y="745537"/>
            <a:ext cx="9905998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riángulo rectángulo 19">
            <a:extLst>
              <a:ext uri="{FF2B5EF4-FFF2-40B4-BE49-F238E27FC236}">
                <a16:creationId xmlns:a16="http://schemas.microsoft.com/office/drawing/2014/main" id="{EF268C56-4003-4D24-A61B-341E5E38A8AF}"/>
              </a:ext>
            </a:extLst>
          </p:cNvPr>
          <p:cNvSpPr>
            <a:spLocks noChangeAspect="1"/>
          </p:cNvSpPr>
          <p:nvPr userDrawn="1"/>
        </p:nvSpPr>
        <p:spPr>
          <a:xfrm rot="5400000" flipV="1">
            <a:off x="455432" y="276413"/>
            <a:ext cx="216000" cy="216000"/>
          </a:xfrm>
          <a:prstGeom prst="rtTriangl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98095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oleObject" Target="../embeddings/oleObject5.bin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6E2882D5-B580-4F0E-A370-D625853E3E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868790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71" imgH="472" progId="TCLayout.ActiveDocument.1">
                  <p:embed/>
                </p:oleObj>
              </mc:Choice>
              <mc:Fallback>
                <p:oleObj name="think-cell Slide" r:id="rId19" imgW="471" imgH="472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6E2882D5-B580-4F0E-A370-D625853E3E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4D6857-DD46-44DD-AB23-B509BF9D29E7}" type="datetime1">
              <a:rPr lang="es-ES" smtClean="0"/>
              <a:t>04/08/2023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CB4CA7-5E4C-4639-A184-60D5899B0D8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50269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62" r:id="rId3"/>
    <p:sldLayoutId id="2147483663" r:id="rId4"/>
    <p:sldLayoutId id="2147483675" r:id="rId5"/>
    <p:sldLayoutId id="2147483664" r:id="rId6"/>
    <p:sldLayoutId id="2147483665" r:id="rId7"/>
    <p:sldLayoutId id="2147483666" r:id="rId8"/>
    <p:sldLayoutId id="2147483674" r:id="rId9"/>
    <p:sldLayoutId id="2147483667" r:id="rId10"/>
    <p:sldLayoutId id="2147483668" r:id="rId11"/>
    <p:sldLayoutId id="2147483669" r:id="rId12"/>
    <p:sldLayoutId id="2147483670" r:id="rId13"/>
    <p:sldLayoutId id="2147483671" r:id="rId14"/>
    <p:sldLayoutId id="2147483673" r:id="rId15"/>
    <p:sldLayoutId id="2147483678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6E2882D5-B580-4F0E-A370-D625853E3E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868790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71" imgH="472" progId="TCLayout.ActiveDocument.1">
                  <p:embed/>
                </p:oleObj>
              </mc:Choice>
              <mc:Fallback>
                <p:oleObj name="think-cell Slide" r:id="rId19" imgW="471" imgH="472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6E2882D5-B580-4F0E-A370-D625853E3E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4D6857-DD46-44DD-AB23-B509BF9D29E7}" type="datetime1">
              <a:rPr lang="es-ES" smtClean="0"/>
              <a:t>04/08/2023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CB4CA7-5E4C-4639-A184-60D5899B0D8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31938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36.xml"/><Relationship Id="rId21" Type="http://schemas.openxmlformats.org/officeDocument/2006/relationships/tags" Target="../tags/tag31.xml"/><Relationship Id="rId34" Type="http://schemas.openxmlformats.org/officeDocument/2006/relationships/tags" Target="../tags/tag44.xml"/><Relationship Id="rId42" Type="http://schemas.openxmlformats.org/officeDocument/2006/relationships/tags" Target="../tags/tag52.xml"/><Relationship Id="rId47" Type="http://schemas.openxmlformats.org/officeDocument/2006/relationships/tags" Target="../tags/tag57.xml"/><Relationship Id="rId50" Type="http://schemas.openxmlformats.org/officeDocument/2006/relationships/tags" Target="../tags/tag60.xml"/><Relationship Id="rId55" Type="http://schemas.openxmlformats.org/officeDocument/2006/relationships/tags" Target="../tags/tag65.xml"/><Relationship Id="rId63" Type="http://schemas.openxmlformats.org/officeDocument/2006/relationships/chart" Target="../charts/chart1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9" Type="http://schemas.openxmlformats.org/officeDocument/2006/relationships/tags" Target="../tags/tag39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32" Type="http://schemas.openxmlformats.org/officeDocument/2006/relationships/tags" Target="../tags/tag42.xml"/><Relationship Id="rId37" Type="http://schemas.openxmlformats.org/officeDocument/2006/relationships/tags" Target="../tags/tag47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53" Type="http://schemas.openxmlformats.org/officeDocument/2006/relationships/tags" Target="../tags/tag63.xml"/><Relationship Id="rId58" Type="http://schemas.openxmlformats.org/officeDocument/2006/relationships/tags" Target="../tags/tag68.xml"/><Relationship Id="rId66" Type="http://schemas.openxmlformats.org/officeDocument/2006/relationships/image" Target="../media/image14.png"/><Relationship Id="rId5" Type="http://schemas.openxmlformats.org/officeDocument/2006/relationships/tags" Target="../tags/tag15.xml"/><Relationship Id="rId61" Type="http://schemas.openxmlformats.org/officeDocument/2006/relationships/oleObject" Target="../embeddings/oleObject10.bin"/><Relationship Id="rId19" Type="http://schemas.openxmlformats.org/officeDocument/2006/relationships/tags" Target="../tags/tag2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43" Type="http://schemas.openxmlformats.org/officeDocument/2006/relationships/tags" Target="../tags/tag53.xml"/><Relationship Id="rId48" Type="http://schemas.openxmlformats.org/officeDocument/2006/relationships/tags" Target="../tags/tag58.xml"/><Relationship Id="rId56" Type="http://schemas.openxmlformats.org/officeDocument/2006/relationships/tags" Target="../tags/tag66.xml"/><Relationship Id="rId64" Type="http://schemas.openxmlformats.org/officeDocument/2006/relationships/image" Target="../media/image12.png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3" Type="http://schemas.openxmlformats.org/officeDocument/2006/relationships/tags" Target="../tags/tag13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tags" Target="../tags/tag43.xml"/><Relationship Id="rId38" Type="http://schemas.openxmlformats.org/officeDocument/2006/relationships/tags" Target="../tags/tag48.xml"/><Relationship Id="rId46" Type="http://schemas.openxmlformats.org/officeDocument/2006/relationships/tags" Target="../tags/tag56.xml"/><Relationship Id="rId59" Type="http://schemas.openxmlformats.org/officeDocument/2006/relationships/tags" Target="../tags/tag69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54" Type="http://schemas.openxmlformats.org/officeDocument/2006/relationships/tags" Target="../tags/tag64.xml"/><Relationship Id="rId62" Type="http://schemas.openxmlformats.org/officeDocument/2006/relationships/image" Target="../media/image10.emf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tags" Target="../tags/tag46.xml"/><Relationship Id="rId49" Type="http://schemas.openxmlformats.org/officeDocument/2006/relationships/tags" Target="../tags/tag59.xml"/><Relationship Id="rId57" Type="http://schemas.openxmlformats.org/officeDocument/2006/relationships/tags" Target="../tags/tag67.xml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44" Type="http://schemas.openxmlformats.org/officeDocument/2006/relationships/tags" Target="../tags/tag54.xml"/><Relationship Id="rId52" Type="http://schemas.openxmlformats.org/officeDocument/2006/relationships/tags" Target="../tags/tag62.xml"/><Relationship Id="rId60" Type="http://schemas.openxmlformats.org/officeDocument/2006/relationships/slideLayout" Target="../slideLayouts/slideLayout32.xml"/><Relationship Id="rId65" Type="http://schemas.openxmlformats.org/officeDocument/2006/relationships/image" Target="../media/image13.png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39" Type="http://schemas.openxmlformats.org/officeDocument/2006/relationships/tags" Target="../tags/tag4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70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7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0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2.xml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54C6111-F4A9-681B-5D3E-869B99CE62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3834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54C6111-F4A9-681B-5D3E-869B99CE62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1">
            <a:extLst>
              <a:ext uri="{FF2B5EF4-FFF2-40B4-BE49-F238E27FC236}">
                <a16:creationId xmlns:a16="http://schemas.microsoft.com/office/drawing/2014/main" id="{6BDBA52D-0674-F354-AA0E-3F248D5AE7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12974" y="3701477"/>
            <a:ext cx="4386626" cy="396676"/>
          </a:xfrm>
        </p:spPr>
        <p:txBody>
          <a:bodyPr>
            <a:normAutofit/>
          </a:bodyPr>
          <a:lstStyle/>
          <a:p>
            <a:r>
              <a:rPr lang="es-ES" sz="2000" b="1" dirty="0"/>
              <a:t>Actualización de mercado</a:t>
            </a:r>
          </a:p>
        </p:txBody>
      </p:sp>
      <p:pic>
        <p:nvPicPr>
          <p:cNvPr id="2050" name="Picture 2" descr="BEKA Finance on Behance">
            <a:extLst>
              <a:ext uri="{FF2B5EF4-FFF2-40B4-BE49-F238E27FC236}">
                <a16:creationId xmlns:a16="http://schemas.microsoft.com/office/drawing/2014/main" id="{80C6F4E6-FA92-029B-682F-1659712805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6" t="34659" r="6691" b="35364"/>
          <a:stretch/>
        </p:blipFill>
        <p:spPr bwMode="auto">
          <a:xfrm>
            <a:off x="5112974" y="3156523"/>
            <a:ext cx="2876480" cy="490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67909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4E610F-D99B-4C0F-8F0C-C73FD028E3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6348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1" imgW="347" imgH="348" progId="TCLayout.ActiveDocument.1">
                  <p:embed/>
                </p:oleObj>
              </mc:Choice>
              <mc:Fallback>
                <p:oleObj name="think-cell Slide" r:id="rId61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4E610F-D99B-4C0F-8F0C-C73FD028E3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8" name="CuadroTexto 12">
            <a:extLst>
              <a:ext uri="{FF2B5EF4-FFF2-40B4-BE49-F238E27FC236}">
                <a16:creationId xmlns:a16="http://schemas.microsoft.com/office/drawing/2014/main" id="{2789745E-7F6D-4955-82D5-4570BD67B8D6}"/>
              </a:ext>
            </a:extLst>
          </p:cNvPr>
          <p:cNvSpPr txBox="1"/>
          <p:nvPr/>
        </p:nvSpPr>
        <p:spPr>
          <a:xfrm>
            <a:off x="535167" y="3602679"/>
            <a:ext cx="3998913" cy="25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50" b="1">
                <a:solidFill>
                  <a:srgbClr val="C00000"/>
                </a:solidFill>
                <a:latin typeface="Avenir" pitchFamily="50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" pitchFamily="50" charset="0"/>
                <a:ea typeface="+mn-ea"/>
                <a:cs typeface="+mn-cs"/>
                <a:sym typeface="Wingdings" pitchFamily="2" charset="2"/>
              </a:rPr>
              <a:t>SPGB 5-yr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5554648-C236-4C3F-9EC5-7C8E2A06900D}"/>
              </a:ext>
            </a:extLst>
          </p:cNvPr>
          <p:cNvSpPr/>
          <p:nvPr/>
        </p:nvSpPr>
        <p:spPr>
          <a:xfrm>
            <a:off x="706228" y="6524625"/>
            <a:ext cx="3736799" cy="1370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entes: Bloomberg; INE; Beka Finance</a:t>
            </a:r>
          </a:p>
        </p:txBody>
      </p:sp>
      <p:cxnSp>
        <p:nvCxnSpPr>
          <p:cNvPr id="100" name="Conector recto 13">
            <a:extLst>
              <a:ext uri="{FF2B5EF4-FFF2-40B4-BE49-F238E27FC236}">
                <a16:creationId xmlns:a16="http://schemas.microsoft.com/office/drawing/2014/main" id="{9A27652C-3E02-464E-8A94-83B68CD1F125}"/>
              </a:ext>
            </a:extLst>
          </p:cNvPr>
          <p:cNvCxnSpPr>
            <a:cxnSpLocks/>
          </p:cNvCxnSpPr>
          <p:nvPr/>
        </p:nvCxnSpPr>
        <p:spPr>
          <a:xfrm>
            <a:off x="377825" y="3838079"/>
            <a:ext cx="4163652" cy="0"/>
          </a:xfrm>
          <a:prstGeom prst="line">
            <a:avLst/>
          </a:prstGeom>
          <a:ln w="6350"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5" name="Text Placeholder 2">
            <a:extLst>
              <a:ext uri="{FF2B5EF4-FFF2-40B4-BE49-F238E27FC236}">
                <a16:creationId xmlns:a16="http://schemas.microsoft.com/office/drawing/2014/main" id="{434D800E-7DA5-FE3C-51A5-F2530B70450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1163638" y="6073776"/>
            <a:ext cx="2778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GB" sz="900" b="1" dirty="0"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9D92BC78-ECC2-6882-66E9-C727F007B97F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4098925" y="6073776"/>
            <a:ext cx="2778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GB" sz="900" b="1" dirty="0"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552" name="CuadroTexto 12">
            <a:extLst>
              <a:ext uri="{FF2B5EF4-FFF2-40B4-BE49-F238E27FC236}">
                <a16:creationId xmlns:a16="http://schemas.microsoft.com/office/drawing/2014/main" id="{006D8B5C-A3A9-CA55-53BE-0C7507389F01}"/>
              </a:ext>
            </a:extLst>
          </p:cNvPr>
          <p:cNvSpPr txBox="1"/>
          <p:nvPr/>
        </p:nvSpPr>
        <p:spPr>
          <a:xfrm>
            <a:off x="535167" y="888050"/>
            <a:ext cx="3998913" cy="25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50" b="1">
                <a:solidFill>
                  <a:srgbClr val="C00000"/>
                </a:solidFill>
                <a:latin typeface="Avenir" pitchFamily="50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" pitchFamily="50" charset="0"/>
                <a:ea typeface="+mn-ea"/>
                <a:cs typeface="+mn-cs"/>
                <a:sym typeface="Wingdings" pitchFamily="2" charset="2"/>
              </a:rPr>
              <a:t>SPGB 3-yr</a:t>
            </a:r>
          </a:p>
        </p:txBody>
      </p:sp>
      <p:sp>
        <p:nvSpPr>
          <p:cNvPr id="910" name="Title 909">
            <a:extLst>
              <a:ext uri="{FF2B5EF4-FFF2-40B4-BE49-F238E27FC236}">
                <a16:creationId xmlns:a16="http://schemas.microsoft.com/office/drawing/2014/main" id="{52FB10B3-08C5-C2BB-DCEF-4B8FDAAD0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dirty="0">
                <a:solidFill>
                  <a:schemeClr val="tx1"/>
                </a:solidFill>
                <a:sym typeface="Wingdings" pitchFamily="2" charset="2"/>
              </a:rPr>
              <a:t>BONOS SOBERANOS</a:t>
            </a:r>
            <a:endParaRPr lang="en-GB" dirty="0"/>
          </a:p>
        </p:txBody>
      </p:sp>
      <p:sp>
        <p:nvSpPr>
          <p:cNvPr id="358" name="CuadroTexto 12">
            <a:extLst>
              <a:ext uri="{FF2B5EF4-FFF2-40B4-BE49-F238E27FC236}">
                <a16:creationId xmlns:a16="http://schemas.microsoft.com/office/drawing/2014/main" id="{C5DB9F1E-A752-D8DE-DBA8-466E0B372F9B}"/>
              </a:ext>
            </a:extLst>
          </p:cNvPr>
          <p:cNvSpPr txBox="1"/>
          <p:nvPr/>
        </p:nvSpPr>
        <p:spPr>
          <a:xfrm>
            <a:off x="5356225" y="874608"/>
            <a:ext cx="399870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50" b="1">
                <a:solidFill>
                  <a:srgbClr val="C00000"/>
                </a:solidFill>
                <a:latin typeface="Avenir" pitchFamily="50" charset="0"/>
              </a:defRPr>
            </a:lvl1pPr>
          </a:lstStyle>
          <a:p>
            <a:pPr algn="l"/>
            <a:r>
              <a:rPr lang="es-ES" sz="1000" dirty="0">
                <a:sym typeface="Wingdings" pitchFamily="2" charset="2"/>
              </a:rPr>
              <a:t>Evolución del bono español (SPGB) y bono alemán (DBR) a 10 años</a:t>
            </a:r>
          </a:p>
        </p:txBody>
      </p:sp>
      <p:sp>
        <p:nvSpPr>
          <p:cNvPr id="373" name="Text Placeholder 2">
            <a:extLst>
              <a:ext uri="{FF2B5EF4-FFF2-40B4-BE49-F238E27FC236}">
                <a16:creationId xmlns:a16="http://schemas.microsoft.com/office/drawing/2014/main" id="{CEB7C1B4-3FAB-45CD-D2EF-DBAEBBE358A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999163" y="1236663"/>
            <a:ext cx="12049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GB" sz="900" b="1" dirty="0"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374" name="Text Placeholder 2">
            <a:extLst>
              <a:ext uri="{FF2B5EF4-FFF2-40B4-BE49-F238E27FC236}">
                <a16:creationId xmlns:a16="http://schemas.microsoft.com/office/drawing/2014/main" id="{8556741D-FBB6-6A94-E0FF-0BBAC0142F8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516813" y="1236663"/>
            <a:ext cx="131286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GB" sz="900" b="1" dirty="0"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939" name="CuadroTexto 12">
            <a:extLst>
              <a:ext uri="{FF2B5EF4-FFF2-40B4-BE49-F238E27FC236}">
                <a16:creationId xmlns:a16="http://schemas.microsoft.com/office/drawing/2014/main" id="{B43E40AF-20F8-2637-2C44-C0E3D46E5717}"/>
              </a:ext>
            </a:extLst>
          </p:cNvPr>
          <p:cNvSpPr txBox="1"/>
          <p:nvPr/>
        </p:nvSpPr>
        <p:spPr>
          <a:xfrm>
            <a:off x="5356016" y="3594101"/>
            <a:ext cx="3998913" cy="25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50" b="1">
                <a:solidFill>
                  <a:srgbClr val="C00000"/>
                </a:solidFill>
                <a:latin typeface="Avenir" pitchFamily="50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" pitchFamily="50" charset="0"/>
                <a:ea typeface="+mn-ea"/>
                <a:cs typeface="+mn-cs"/>
                <a:sym typeface="Wingdings" pitchFamily="2" charset="2"/>
              </a:rPr>
              <a:t>Evolución IPC</a:t>
            </a:r>
          </a:p>
        </p:txBody>
      </p: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69312AAF-D30A-C09B-2753-E76CDE8F2EAC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6900863" y="5919788"/>
            <a:ext cx="0" cy="381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C2E1CC4E-FD4F-BAB2-9781-1116F8BB667D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5645150" y="5302250"/>
            <a:ext cx="381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34D87C08-9D33-39AE-EA64-74BD916D0D75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5683250" y="5919788"/>
            <a:ext cx="0" cy="381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2" name="Straight Connector 521">
            <a:extLst>
              <a:ext uri="{FF2B5EF4-FFF2-40B4-BE49-F238E27FC236}">
                <a16:creationId xmlns:a16="http://schemas.microsoft.com/office/drawing/2014/main" id="{EA34E4BA-C09E-A0D1-5206-4D50EF452078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5645150" y="4683125"/>
            <a:ext cx="381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872F1349-C91B-C831-4BED-C673B90219C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6080125" y="5919788"/>
            <a:ext cx="0" cy="381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D7C5A972-C599-ADBE-A8D8-5831427D1DA3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H="1">
            <a:off x="5645150" y="5456238"/>
            <a:ext cx="381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5C5DE091-3F79-9CFC-9B04-515B484C3591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7727950" y="5919788"/>
            <a:ext cx="0" cy="381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75607D8C-B748-F8ED-65C4-AA0A51D948FA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8137525" y="5919788"/>
            <a:ext cx="0" cy="381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791675B4-1FA6-B105-35B6-2CB2AC820DEA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H="1">
            <a:off x="5645150" y="4529138"/>
            <a:ext cx="381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6" name="Straight Connector 525">
            <a:extLst>
              <a:ext uri="{FF2B5EF4-FFF2-40B4-BE49-F238E27FC236}">
                <a16:creationId xmlns:a16="http://schemas.microsoft.com/office/drawing/2014/main" id="{137ED809-1B7C-EDF7-8462-335B036250F3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5645150" y="4375150"/>
            <a:ext cx="381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080BFD46-6914-AE12-7EEE-AED2343B6F06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8945563" y="5919788"/>
            <a:ext cx="0" cy="381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34E522A3-47BD-0D4F-EBEA-E17754AE406A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H="1">
            <a:off x="5645150" y="4838700"/>
            <a:ext cx="381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A07C2296-2962-92B6-0FE6-9F957660392A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8534400" y="5919788"/>
            <a:ext cx="0" cy="381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CDB4929-A3F8-4ADB-7C8A-E6D87F008046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9355138" y="5919788"/>
            <a:ext cx="0" cy="381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88D57D5D-4841-6E3C-2296-A560058054CC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6489700" y="5919788"/>
            <a:ext cx="0" cy="381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8" name="Straight Connector 517">
            <a:extLst>
              <a:ext uri="{FF2B5EF4-FFF2-40B4-BE49-F238E27FC236}">
                <a16:creationId xmlns:a16="http://schemas.microsoft.com/office/drawing/2014/main" id="{CB54172B-F51B-79C1-96CC-D8B0B4BFB3AC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H="1">
            <a:off x="5645150" y="4992688"/>
            <a:ext cx="381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CBE9CD29-F304-D093-7646-0168AF418403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 flipH="1">
            <a:off x="5645150" y="5146675"/>
            <a:ext cx="381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8" name="Straight Connector 947">
            <a:extLst>
              <a:ext uri="{FF2B5EF4-FFF2-40B4-BE49-F238E27FC236}">
                <a16:creationId xmlns:a16="http://schemas.microsoft.com/office/drawing/2014/main" id="{535E45FE-1B86-A207-1BA6-57C970DF80F4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H="1">
            <a:off x="5645150" y="5919788"/>
            <a:ext cx="381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" name="Straight Connector 184">
            <a:extLst>
              <a:ext uri="{FF2B5EF4-FFF2-40B4-BE49-F238E27FC236}">
                <a16:creationId xmlns:a16="http://schemas.microsoft.com/office/drawing/2014/main" id="{162ABFB9-188D-330C-9EDB-DA02B7A8D294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7316788" y="5919788"/>
            <a:ext cx="0" cy="381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21BAA727-6001-D6FB-421E-4FE6BAA9B216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 flipH="1">
            <a:off x="5645150" y="5765800"/>
            <a:ext cx="381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5688D725-6497-E3AB-57A6-7480195E7DC9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 flipH="1">
            <a:off x="5645150" y="5610225"/>
            <a:ext cx="381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4" name="Chart 53">
            <a:extLst>
              <a:ext uri="{FF2B5EF4-FFF2-40B4-BE49-F238E27FC236}">
                <a16:creationId xmlns:a16="http://schemas.microsoft.com/office/drawing/2014/main" id="{D6C8E611-5000-5A10-D929-6D74E8F2454E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964832950"/>
              </p:ext>
            </p:extLst>
          </p:nvPr>
        </p:nvGraphicFramePr>
        <p:xfrm>
          <a:off x="5600700" y="4030663"/>
          <a:ext cx="3836988" cy="1995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3"/>
          </a:graphicData>
        </a:graphic>
      </p:graphicFrame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80905E23-D7D3-B7F6-1CEE-783AF80D2493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545139" y="6005513"/>
            <a:ext cx="2778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8449F3-191A-4A4F-943C-C34F32625302}" type="datetime'''0''''''''''''''''1''''''''''/''2''''''''''''2'''''''''''''">
              <a:rPr lang="en-GB" altLang="en-US" sz="900" b="1" smtClean="0">
                <a:latin typeface="Avenir" panose="020B0503020203020204"/>
              </a:rPr>
              <a:pPr/>
              <a:t>01/22</a:t>
            </a:fld>
            <a:endParaRPr lang="en-GB" sz="900" b="1" dirty="0"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362A68C4-945F-C17F-C0BA-43DA0627B7F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351588" y="6005513"/>
            <a:ext cx="2778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883A9C-8091-40E8-8D8F-3C8F6170E965}" type="datetime'''''''0''''''5''''''''''''''''''''''/''''''''2''''''''2'''''''">
              <a:rPr lang="en-GB" altLang="en-US" sz="900" b="1" smtClean="0">
                <a:latin typeface="Avenir" panose="020B0503020203020204"/>
              </a:rPr>
              <a:pPr/>
              <a:t>05/22</a:t>
            </a:fld>
            <a:endParaRPr lang="en-GB" sz="900" b="1" dirty="0"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182" name="Text Placeholder 2">
            <a:extLst>
              <a:ext uri="{FF2B5EF4-FFF2-40B4-BE49-F238E27FC236}">
                <a16:creationId xmlns:a16="http://schemas.microsoft.com/office/drawing/2014/main" id="{37242048-207B-9EF1-16C4-520345260833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8807450" y="6005513"/>
            <a:ext cx="2778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B09C30-C22C-4325-BB59-E0D5083A0C4C}" type="datetime'0''''''''''''''''''''''5''''''''''/''''2''''''''''''''''''3'''">
              <a:rPr lang="en-GB" altLang="en-US" sz="900" b="1" smtClean="0">
                <a:latin typeface="Avenir" panose="020B0503020203020204"/>
              </a:rPr>
              <a:pPr/>
              <a:t>05/23</a:t>
            </a:fld>
            <a:endParaRPr lang="en-GB" sz="900" b="1" dirty="0"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97B67D60-0FFA-0398-DDB9-87AB2B84229E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5942013" y="6005513"/>
            <a:ext cx="2778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572D52-3286-458F-ABA1-A4375BAA7AB0}" type="datetime'''''03''''/''''''''''''''2''''''2'''''''''''''''''''''">
              <a:rPr lang="en-GB" altLang="en-US" sz="900" b="1" smtClean="0">
                <a:latin typeface="Avenir" panose="020B0503020203020204"/>
              </a:rPr>
              <a:pPr/>
              <a:t>03/22</a:t>
            </a:fld>
            <a:endParaRPr lang="en-GB" sz="900" b="1" dirty="0"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00A33F91-590D-3295-2F76-D0633382ED04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762750" y="6005513"/>
            <a:ext cx="2778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BB65AC-2EA1-4EA3-AE9B-3F952964822B}" type="datetime'''''0''''''''''''''''7''''/''''''''''''''''''''''''2''2'''''">
              <a:rPr lang="en-GB" altLang="en-US" sz="900" b="1" smtClean="0">
                <a:latin typeface="Avenir" panose="020B0503020203020204"/>
              </a:rPr>
              <a:pPr/>
              <a:t>07/22</a:t>
            </a:fld>
            <a:endParaRPr lang="en-GB" sz="900" b="1" dirty="0"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8A674CDA-D8AE-FC2A-6D30-69B5D15E603E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178675" y="6005513"/>
            <a:ext cx="2778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E33CC6-1E11-4C6F-A52A-6DA0A27B83FE}" type="datetime'0''''''''''''''''9''''''''''''''''''''/''''''22'''">
              <a:rPr lang="en-GB" altLang="en-US" sz="900" b="1" smtClean="0">
                <a:latin typeface="Avenir" panose="020B0503020203020204"/>
              </a:rPr>
              <a:pPr/>
              <a:t>09/22</a:t>
            </a:fld>
            <a:endParaRPr lang="en-GB" sz="900" b="1" dirty="0"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86D872BC-EE42-248F-A165-5367E7A3B896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7589838" y="6005513"/>
            <a:ext cx="2778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2A6F08-5821-4B3D-AB70-676959F189C1}" type="datetime'''''''''''''''''''1''''1''''/''''''2''2'''''''''''''''''''''''">
              <a:rPr lang="en-GB" altLang="en-US" sz="900" b="1" smtClean="0">
                <a:latin typeface="Avenir" panose="020B0503020203020204"/>
              </a:rPr>
              <a:pPr/>
              <a:t>11/22</a:t>
            </a:fld>
            <a:endParaRPr lang="en-GB" sz="900" b="1" dirty="0"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4BFB2091-EABB-C56A-2F43-37E3B4566358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511800" y="4470400"/>
            <a:ext cx="571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1E3035C-1DEC-4CB9-B4D0-6141C2B6897B}" type="datetime'''''''''''''''''''''''''''9'">
              <a:rPr lang="en-GB" altLang="en-US" sz="900" b="1" smtClean="0">
                <a:solidFill>
                  <a:srgbClr val="000000"/>
                </a:solidFill>
                <a:effectLst/>
                <a:latin typeface="Avenir" panose="020B0503020203020204"/>
                <a:sym typeface="Avenir" panose="020B0503020203020204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en-GB" sz="900" b="1" dirty="0">
              <a:solidFill>
                <a:srgbClr val="000000"/>
              </a:solidFill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F654AC3E-D204-2C21-AAFB-6CCECC4DACD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999413" y="6005513"/>
            <a:ext cx="2778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493D46-E1DA-4576-ACCB-62808E253082}" type="datetime'''''''''''0''''''''1''''''''''''''''/''''2''3'''''''''''''''">
              <a:rPr lang="en-GB" altLang="en-US" sz="900" b="1" smtClean="0">
                <a:latin typeface="Avenir" panose="020B0503020203020204"/>
              </a:rPr>
              <a:pPr/>
              <a:t>01/23</a:t>
            </a:fld>
            <a:endParaRPr lang="en-GB" sz="900" b="1" dirty="0"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736818B2-9F38-7820-5B72-0316594C1A6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8396288" y="6005513"/>
            <a:ext cx="2778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36C8E7-2AA2-4C30-9614-4A9E9AF3F344}" type="datetime'0''3''/''''''''''''''''''2''''''''''''''3'''''''''''''''''''''">
              <a:rPr lang="en-GB" altLang="en-US" sz="900" b="1" smtClean="0">
                <a:latin typeface="Avenir" panose="020B0503020203020204"/>
              </a:rPr>
              <a:pPr/>
              <a:t>03/23</a:t>
            </a:fld>
            <a:endParaRPr lang="en-GB" sz="900" b="1" dirty="0"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BC852CF0-D85F-60E8-A735-9DE83D86642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9217025" y="6005514"/>
            <a:ext cx="2778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387370-5BA3-48FE-BCB7-E26EB7252CF3}" type="datetime'''''''''''''''''''07''''/''''''''2''''''3'''''''">
              <a:rPr lang="en-GB" altLang="en-US" sz="900" b="1" smtClean="0">
                <a:effectLst/>
                <a:latin typeface="Avenir" panose="020B0503020203020204"/>
                <a:sym typeface="Avenir" panose="020B0503020203020204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7/23</a:t>
            </a:fld>
            <a:endParaRPr lang="en-GB" sz="900" b="1" dirty="0"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E6F7E99E-03CA-D949-ACFC-91BE7E7313F7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511800" y="5551488"/>
            <a:ext cx="571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A1AD9B7-E058-4CAD-A1D6-81A6BDF54C70}" type="datetime'''''''''''''''''''''''''''2'''''''''''''''''">
              <a:rPr lang="en-GB" altLang="en-US" sz="900" b="1" smtClean="0">
                <a:solidFill>
                  <a:srgbClr val="000000"/>
                </a:solidFill>
                <a:effectLst/>
                <a:latin typeface="Avenir" panose="020B0503020203020204"/>
                <a:sym typeface="Avenir" panose="020B0503020203020204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GB" sz="900" b="1" dirty="0">
              <a:solidFill>
                <a:srgbClr val="000000"/>
              </a:solidFill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AEFD7D57-F211-3293-31AA-EB9D1EEC9EF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511800" y="5861050"/>
            <a:ext cx="571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2986A161-A1E0-40A6-8F23-84F7F13D7427}" type="datetime'''''''''''''''''''''''''''''0'''''''''''''''''''''''''''''">
              <a:rPr lang="en-GB" altLang="en-US" sz="900" b="1" smtClean="0">
                <a:solidFill>
                  <a:srgbClr val="000000"/>
                </a:solidFill>
                <a:latin typeface="Avenir" panose="020B0503020203020204"/>
              </a:rPr>
              <a:pPr/>
              <a:t>0</a:t>
            </a:fld>
            <a:endParaRPr lang="en-GB" sz="900" b="1" strike="noStrike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853B5260-A51F-59AA-4396-D530A12884D2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5511800" y="5397500"/>
            <a:ext cx="571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5044EE3-1EA5-4F35-9F1B-8D068570AC6E}" type="datetime'''''''''''''''''''''''''''''''''''''''''''''''3'">
              <a:rPr lang="en-GB" altLang="en-US" sz="900" b="1" smtClean="0">
                <a:solidFill>
                  <a:srgbClr val="000000"/>
                </a:solidFill>
                <a:effectLst/>
                <a:latin typeface="Avenir" panose="020B0503020203020204"/>
                <a:sym typeface="Avenir" panose="020B0503020203020204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GB" sz="900" b="1" dirty="0">
              <a:solidFill>
                <a:srgbClr val="000000"/>
              </a:solidFill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324D1503-C86F-64B5-A467-B31E12E1130B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5511800" y="5243513"/>
            <a:ext cx="571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87310C6-208D-4C74-982C-A59096B0B448}" type="datetime'''''''4'''''''''''''''''''''''''''''''''''''''''''''''">
              <a:rPr lang="en-GB" altLang="en-US" sz="900" b="1" smtClean="0">
                <a:solidFill>
                  <a:srgbClr val="000000"/>
                </a:solidFill>
                <a:effectLst/>
                <a:latin typeface="Avenir" panose="020B0503020203020204"/>
                <a:sym typeface="Avenir" panose="020B0503020203020204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GB" sz="900" b="1" dirty="0">
              <a:solidFill>
                <a:srgbClr val="000000"/>
              </a:solidFill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1BA944D3-CEDB-028D-1E2B-DB62EE1B527E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5511800" y="4779963"/>
            <a:ext cx="571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DB7712F-D1D1-4847-9ED0-2D490E011379}" type="datetime'''''''''''''''''''''''''''''''''''''''''7'''''''''''''''''">
              <a:rPr lang="en-GB" altLang="en-US" sz="900" b="1" smtClean="0">
                <a:solidFill>
                  <a:srgbClr val="000000"/>
                </a:solidFill>
                <a:effectLst/>
                <a:latin typeface="Avenir" panose="020B0503020203020204"/>
                <a:sym typeface="Avenir" panose="020B0503020203020204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</a:t>
            </a:fld>
            <a:endParaRPr lang="en-GB" sz="900" b="1" dirty="0">
              <a:solidFill>
                <a:srgbClr val="000000"/>
              </a:solidFill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04C591BD-D565-F477-5B51-50FB7D1906B1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511800" y="5087938"/>
            <a:ext cx="571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49766FE-B406-4011-AD6C-3C0FD41E02EC}" type="datetime'''''''''''''''''''''''''''''''''''''5'''''''">
              <a:rPr lang="en-GB" altLang="en-US" sz="900" b="1" smtClean="0">
                <a:solidFill>
                  <a:srgbClr val="000000"/>
                </a:solidFill>
                <a:effectLst/>
                <a:latin typeface="Avenir" panose="020B0503020203020204"/>
                <a:sym typeface="Avenir" panose="020B0503020203020204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GB" sz="900" b="1" dirty="0">
              <a:solidFill>
                <a:srgbClr val="000000"/>
              </a:solidFill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6BA3B998-2CB1-4369-DD80-0C2C2FCB5D67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5511800" y="4933950"/>
            <a:ext cx="571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8585099-0C24-46D3-A378-2CA362C50DC1}" type="datetime'''''''''''''''''''''''''''''''''6'''">
              <a:rPr lang="en-GB" altLang="en-US" sz="900" b="1" smtClean="0">
                <a:solidFill>
                  <a:srgbClr val="000000"/>
                </a:solidFill>
                <a:effectLst/>
                <a:latin typeface="Avenir" panose="020B0503020203020204"/>
                <a:sym typeface="Avenir" panose="020B0503020203020204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GB" sz="900" b="1" dirty="0">
              <a:solidFill>
                <a:srgbClr val="000000"/>
              </a:solidFill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3A29F933-D003-B5A9-6F62-0E74D6DD6E34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5511800" y="4624388"/>
            <a:ext cx="571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10F5407-1EC4-41E5-8474-2168078FEE34}" type="datetime'''''''''''''''8'''''''''''''''''''''''''''''''''''''''''">
              <a:rPr lang="en-GB" altLang="en-US" sz="900" b="1" smtClean="0">
                <a:solidFill>
                  <a:srgbClr val="000000"/>
                </a:solidFill>
                <a:effectLst/>
                <a:latin typeface="Avenir" panose="020B0503020203020204"/>
                <a:sym typeface="Avenir" panose="020B0503020203020204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en-GB" sz="900" b="1" dirty="0">
              <a:solidFill>
                <a:srgbClr val="000000"/>
              </a:solidFill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D75E0553-9644-1743-1199-E21EC2CE3C31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5511800" y="5707063"/>
            <a:ext cx="571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763C61B-BD41-42F1-BEFA-DE856BA4DF63}" type="datetime'''''''''''''''''''''1'">
              <a:rPr lang="en-GB" altLang="en-US" sz="900" b="1" smtClean="0">
                <a:solidFill>
                  <a:srgbClr val="000000"/>
                </a:solidFill>
                <a:effectLst/>
                <a:latin typeface="Avenir" panose="020B0503020203020204"/>
                <a:sym typeface="Avenir" panose="020B0503020203020204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GB" sz="900" b="1" dirty="0">
              <a:solidFill>
                <a:srgbClr val="000000"/>
              </a:solidFill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5340EBAB-F6BD-5771-5284-F8CD7E5E21CE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5454650" y="4316413"/>
            <a:ext cx="1143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6477766-DDB3-4FC9-AB44-CA7472727F76}" type="datetime'1''''''''''''0'''">
              <a:rPr lang="en-GB" altLang="en-US" sz="900" b="1" smtClean="0">
                <a:solidFill>
                  <a:srgbClr val="000000"/>
                </a:solidFill>
                <a:effectLst/>
                <a:latin typeface="Avenir" panose="020B0503020203020204"/>
                <a:sym typeface="Avenir" panose="020B0503020203020204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GB" sz="900" b="1" dirty="0">
              <a:solidFill>
                <a:srgbClr val="000000"/>
              </a:solidFill>
              <a:latin typeface="Avenir" panose="020B0503020203020204"/>
              <a:sym typeface="Avenir" panose="020B0503020203020204"/>
            </a:endParaRPr>
          </a:p>
        </p:txBody>
      </p:sp>
      <p:sp useBgFill="1">
        <p:nvSpPr>
          <p:cNvPr id="234" name="Text Placeholder 2">
            <a:extLst>
              <a:ext uri="{FF2B5EF4-FFF2-40B4-BE49-F238E27FC236}">
                <a16:creationId xmlns:a16="http://schemas.microsoft.com/office/drawing/2014/main" id="{3BF58E82-4FBC-DCE8-D022-F94F6446C3AD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5995988" y="4556125"/>
            <a:ext cx="1555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8BD6B4-FA34-48F7-8F2A-CC06381C2C25}" type="datetime'''''''''''''''''''''''''''''7'''''''''''''''',''''6'''''''''''">
              <a:rPr lang="en-GB" altLang="en-US" sz="800" smtClean="0">
                <a:effectLst/>
                <a:latin typeface="Avenir" panose="020B0503020203020204"/>
                <a:sym typeface="Avenir" panose="020B0503020203020204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,6</a:t>
            </a:fld>
            <a:endParaRPr lang="en-GB" sz="800" dirty="0">
              <a:latin typeface="Avenir" panose="020B0503020203020204"/>
              <a:sym typeface="Avenir" panose="020B0503020203020204"/>
            </a:endParaRPr>
          </a:p>
        </p:txBody>
      </p:sp>
      <p:sp useBgFill="1">
        <p:nvSpPr>
          <p:cNvPr id="299" name="Text Placeholder 2">
            <a:extLst>
              <a:ext uri="{FF2B5EF4-FFF2-40B4-BE49-F238E27FC236}">
                <a16:creationId xmlns:a16="http://schemas.microsoft.com/office/drawing/2014/main" id="{E4C2717A-D973-608D-3366-B054D3097B8D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8053388" y="4849813"/>
            <a:ext cx="1555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3F1882-7A7E-4E7B-B26B-66BBC2D3C52D}" type="datetime'''''''''''5'''',''''''''''7'''''''''''''''''''''''''''">
              <a:rPr lang="en-GB" altLang="en-US" sz="800" smtClean="0">
                <a:effectLst/>
                <a:latin typeface="Avenir" panose="020B0503020203020204"/>
                <a:sym typeface="Avenir" panose="020B0503020203020204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7</a:t>
            </a:fld>
            <a:endParaRPr lang="en-GB" sz="800" dirty="0">
              <a:latin typeface="Avenir" panose="020B0503020203020204"/>
              <a:sym typeface="Avenir" panose="020B0503020203020204"/>
            </a:endParaRPr>
          </a:p>
        </p:txBody>
      </p:sp>
      <p:sp useBgFill="1">
        <p:nvSpPr>
          <p:cNvPr id="29" name="Text Placeholder 2">
            <a:extLst>
              <a:ext uri="{FF2B5EF4-FFF2-40B4-BE49-F238E27FC236}">
                <a16:creationId xmlns:a16="http://schemas.microsoft.com/office/drawing/2014/main" id="{65A9F898-6245-4977-8A8C-05D8D931EE89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5711825" y="4787900"/>
            <a:ext cx="1555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673DC1-6567-4F64-B873-A0A512718AC5}" type="datetime'6'''''''''''''''''''''''''''',''''''''''''''1'''''''">
              <a:rPr lang="en-GB" altLang="en-US" sz="800" smtClean="0">
                <a:effectLst/>
                <a:latin typeface="Avenir" panose="020B0503020203020204"/>
                <a:sym typeface="Avenir" panose="020B0503020203020204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1</a:t>
            </a:fld>
            <a:endParaRPr lang="en-GB" sz="800" dirty="0">
              <a:latin typeface="Avenir" panose="020B0503020203020204"/>
              <a:sym typeface="Avenir" panose="020B0503020203020204"/>
            </a:endParaRPr>
          </a:p>
        </p:txBody>
      </p:sp>
      <p:sp useBgFill="1">
        <p:nvSpPr>
          <p:cNvPr id="247" name="Text Placeholder 2">
            <a:extLst>
              <a:ext uri="{FF2B5EF4-FFF2-40B4-BE49-F238E27FC236}">
                <a16:creationId xmlns:a16="http://schemas.microsoft.com/office/drawing/2014/main" id="{D23C7FF1-6E0E-6B73-1138-52C26BD0AD54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7643813" y="4773613"/>
            <a:ext cx="1555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B8AB90-FC8B-4C34-879A-879F77DC35CF}" type="datetime'''''''''''''''''''''''''''''6'''''''''''''''''',''''''2'''''">
              <a:rPr lang="en-GB" altLang="en-US" sz="800" smtClean="0">
                <a:effectLst/>
                <a:latin typeface="Avenir" panose="020B0503020203020204"/>
                <a:sym typeface="Avenir" panose="020B0503020203020204"/>
              </a:rPr>
              <a:pPr/>
              <a:t>6,2</a:t>
            </a:fld>
            <a:endParaRPr lang="en-GB" sz="800" dirty="0">
              <a:latin typeface="Avenir" panose="020B0503020203020204"/>
              <a:sym typeface="Avenir" panose="020B0503020203020204"/>
            </a:endParaRPr>
          </a:p>
        </p:txBody>
      </p:sp>
      <p:sp useBgFill="1">
        <p:nvSpPr>
          <p:cNvPr id="236" name="Text Placeholder 2">
            <a:extLst>
              <a:ext uri="{FF2B5EF4-FFF2-40B4-BE49-F238E27FC236}">
                <a16:creationId xmlns:a16="http://schemas.microsoft.com/office/drawing/2014/main" id="{6254AA94-AE0D-36DB-B3A4-B32A14EACE2F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8658225" y="5221288"/>
            <a:ext cx="1555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3F5686-AC80-4A36-959F-2FC353E06F45}" type="datetime'''''''''''''3'',''''''''''3'''''">
              <a:rPr lang="en-GB" altLang="en-US" sz="800" smtClean="0">
                <a:effectLst/>
                <a:latin typeface="Avenir" panose="020B0503020203020204"/>
                <a:sym typeface="Avenir" panose="020B0503020203020204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3</a:t>
            </a:fld>
            <a:endParaRPr lang="en-GB" sz="800" dirty="0">
              <a:latin typeface="Avenir" panose="020B0503020203020204"/>
              <a:sym typeface="Avenir" panose="020B0503020203020204"/>
            </a:endParaRPr>
          </a:p>
        </p:txBody>
      </p:sp>
      <p:cxnSp>
        <p:nvCxnSpPr>
          <p:cNvPr id="566" name="Straight Connector 565">
            <a:extLst>
              <a:ext uri="{FF2B5EF4-FFF2-40B4-BE49-F238E27FC236}">
                <a16:creationId xmlns:a16="http://schemas.microsoft.com/office/drawing/2014/main" id="{064FEE8F-AE87-5773-F04E-43AADD262085}"/>
              </a:ext>
            </a:extLst>
          </p:cNvPr>
          <p:cNvCxnSpPr/>
          <p:nvPr>
            <p:custDataLst>
              <p:tags r:id="rId54"/>
            </p:custDataLst>
          </p:nvPr>
        </p:nvCxnSpPr>
        <p:spPr bwMode="gray">
          <a:xfrm>
            <a:off x="6950075" y="5630863"/>
            <a:ext cx="201613" cy="0"/>
          </a:xfrm>
          <a:prstGeom prst="line">
            <a:avLst/>
          </a:prstGeom>
          <a:ln w="19050" cap="rnd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7" name="Straight Connector 566">
            <a:extLst>
              <a:ext uri="{FF2B5EF4-FFF2-40B4-BE49-F238E27FC236}">
                <a16:creationId xmlns:a16="http://schemas.microsoft.com/office/drawing/2014/main" id="{D9518892-FBC0-36E9-D8AC-D9B85A6CF1E4}"/>
              </a:ext>
            </a:extLst>
          </p:cNvPr>
          <p:cNvCxnSpPr/>
          <p:nvPr>
            <p:custDataLst>
              <p:tags r:id="rId55"/>
            </p:custDataLst>
          </p:nvPr>
        </p:nvCxnSpPr>
        <p:spPr bwMode="gray">
          <a:xfrm>
            <a:off x="7689850" y="5630863"/>
            <a:ext cx="201613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4" name="Rectangle 223">
            <a:extLst>
              <a:ext uri="{FF2B5EF4-FFF2-40B4-BE49-F238E27FC236}">
                <a16:creationId xmlns:a16="http://schemas.microsoft.com/office/drawing/2014/main" id="{110EDA2A-8097-D2AB-6E85-AB8A418E9DAA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7024688" y="5605463"/>
            <a:ext cx="50800" cy="50800"/>
          </a:xfrm>
          <a:prstGeom prst="rect">
            <a:avLst/>
          </a:prstGeom>
          <a:solidFill>
            <a:srgbClr val="C00000"/>
          </a:solidFill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332057AD-29AA-29F5-8D01-16EDD2197569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7764463" y="5605463"/>
            <a:ext cx="50800" cy="50800"/>
          </a:xfrm>
          <a:prstGeom prst="rect">
            <a:avLst/>
          </a:prstGeom>
          <a:solidFill>
            <a:srgbClr val="7F7F7F"/>
          </a:solidFill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D0CEB24E-1CB1-50F9-B4EB-EC6FD22CE467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7212013" y="5576888"/>
            <a:ext cx="3667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FAD4BC8-55FD-490E-BB36-EEB5F4B7A431}" type="datetime'''G''e''''''''''''''''''n''e''''''''''''r''''a''''''l'''''''''">
              <a:rPr lang="en-GB" altLang="en-US" sz="900" smtClean="0">
                <a:latin typeface="Avenir" panose="020B0503020203020204"/>
              </a:rPr>
              <a:pPr/>
              <a:t>General</a:t>
            </a:fld>
            <a:endParaRPr lang="en-GB" sz="900" dirty="0"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C0E5760A-8439-BB63-4DBB-1590B2EE8AB8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7951788" y="5576888"/>
            <a:ext cx="5397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4F4E334-4AF9-484D-B79E-732822A460D7}" type="datetime'''''''''''''''''''S''ub''''''y''a''''''''c''''''ent''e'">
              <a:rPr lang="en-GB" altLang="en-US" sz="900" smtClean="0">
                <a:latin typeface="Avenir" panose="020B0503020203020204"/>
              </a:rPr>
              <a:pPr/>
              <a:t>Subyacente</a:t>
            </a:fld>
            <a:endParaRPr lang="en-GB" sz="900" dirty="0">
              <a:latin typeface="Avenir" panose="020B0503020203020204"/>
              <a:sym typeface="Avenir" panose="020B0503020203020204"/>
            </a:endParaRPr>
          </a:p>
        </p:txBody>
      </p:sp>
      <p:sp>
        <p:nvSpPr>
          <p:cNvPr id="297" name="Rectangle 296">
            <a:extLst>
              <a:ext uri="{FF2B5EF4-FFF2-40B4-BE49-F238E27FC236}">
                <a16:creationId xmlns:a16="http://schemas.microsoft.com/office/drawing/2014/main" id="{A9F851E8-5523-5EDE-D0C5-814DFB596258}"/>
              </a:ext>
            </a:extLst>
          </p:cNvPr>
          <p:cNvSpPr/>
          <p:nvPr/>
        </p:nvSpPr>
        <p:spPr>
          <a:xfrm>
            <a:off x="5321933" y="4067175"/>
            <a:ext cx="361317" cy="146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</a:t>
            </a:r>
          </a:p>
        </p:txBody>
      </p:sp>
      <p:cxnSp>
        <p:nvCxnSpPr>
          <p:cNvPr id="9" name="Conector recto 13">
            <a:extLst>
              <a:ext uri="{FF2B5EF4-FFF2-40B4-BE49-F238E27FC236}">
                <a16:creationId xmlns:a16="http://schemas.microsoft.com/office/drawing/2014/main" id="{22C3D068-643D-E38B-176F-D677DEDF93C1}"/>
              </a:ext>
            </a:extLst>
          </p:cNvPr>
          <p:cNvCxnSpPr>
            <a:cxnSpLocks/>
          </p:cNvCxnSpPr>
          <p:nvPr/>
        </p:nvCxnSpPr>
        <p:spPr>
          <a:xfrm>
            <a:off x="377825" y="1128524"/>
            <a:ext cx="4163652" cy="0"/>
          </a:xfrm>
          <a:prstGeom prst="line">
            <a:avLst/>
          </a:prstGeom>
          <a:ln w="6350"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cto 13">
            <a:extLst>
              <a:ext uri="{FF2B5EF4-FFF2-40B4-BE49-F238E27FC236}">
                <a16:creationId xmlns:a16="http://schemas.microsoft.com/office/drawing/2014/main" id="{1D9C612F-5746-1EAC-5C24-F65489A01165}"/>
              </a:ext>
            </a:extLst>
          </p:cNvPr>
          <p:cNvCxnSpPr>
            <a:cxnSpLocks/>
          </p:cNvCxnSpPr>
          <p:nvPr/>
        </p:nvCxnSpPr>
        <p:spPr>
          <a:xfrm>
            <a:off x="5321933" y="1128524"/>
            <a:ext cx="4163652" cy="0"/>
          </a:xfrm>
          <a:prstGeom prst="line">
            <a:avLst/>
          </a:prstGeom>
          <a:ln w="6350"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cto 13">
            <a:extLst>
              <a:ext uri="{FF2B5EF4-FFF2-40B4-BE49-F238E27FC236}">
                <a16:creationId xmlns:a16="http://schemas.microsoft.com/office/drawing/2014/main" id="{35E3CBAA-CB04-53BB-6EFB-770077388573}"/>
              </a:ext>
            </a:extLst>
          </p:cNvPr>
          <p:cNvCxnSpPr>
            <a:cxnSpLocks/>
          </p:cNvCxnSpPr>
          <p:nvPr/>
        </p:nvCxnSpPr>
        <p:spPr>
          <a:xfrm>
            <a:off x="5321933" y="3845270"/>
            <a:ext cx="4163652" cy="0"/>
          </a:xfrm>
          <a:prstGeom prst="line">
            <a:avLst/>
          </a:prstGeom>
          <a:ln w="6350"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49" name="Picture 948" descr="spgb3.png"/>
          <p:cNvPicPr>
            <a:picLocks noChangeAspect="1"/>
          </p:cNvPicPr>
          <p:nvPr/>
        </p:nvPicPr>
        <p:blipFill>
          <a:blip r:embed="rId64"/>
          <a:stretch>
            <a:fillRect/>
          </a:stretch>
        </p:blipFill>
        <p:spPr>
          <a:xfrm>
            <a:off x="-50292" y="1143000"/>
            <a:ext cx="5058000" cy="2412000"/>
          </a:xfrm>
          <a:prstGeom prst="rect">
            <a:avLst/>
          </a:prstGeom>
        </p:spPr>
      </p:pic>
      <p:pic>
        <p:nvPicPr>
          <p:cNvPr id="950" name="Picture 949" descr="spgb5.png"/>
          <p:cNvPicPr>
            <a:picLocks noChangeAspect="1"/>
          </p:cNvPicPr>
          <p:nvPr/>
        </p:nvPicPr>
        <p:blipFill>
          <a:blip r:embed="rId65"/>
          <a:stretch>
            <a:fillRect/>
          </a:stretch>
        </p:blipFill>
        <p:spPr>
          <a:xfrm>
            <a:off x="-38437" y="3882024"/>
            <a:ext cx="5058000" cy="2412000"/>
          </a:xfrm>
          <a:prstGeom prst="rect">
            <a:avLst/>
          </a:prstGeom>
        </p:spPr>
      </p:pic>
      <p:pic>
        <p:nvPicPr>
          <p:cNvPr id="951" name="Picture 950" descr="spgb_dbr.png"/>
          <p:cNvPicPr>
            <a:picLocks noChangeAspect="1"/>
          </p:cNvPicPr>
          <p:nvPr/>
        </p:nvPicPr>
        <p:blipFill>
          <a:blip r:embed="rId66"/>
          <a:stretch>
            <a:fillRect/>
          </a:stretch>
        </p:blipFill>
        <p:spPr>
          <a:xfrm>
            <a:off x="4937760" y="1143000"/>
            <a:ext cx="4870800" cy="2393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8313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4E610F-D99B-4C0F-8F0C-C73FD028E3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4743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4E610F-D99B-4C0F-8F0C-C73FD028E3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8" name="CuadroTexto 12">
            <a:extLst>
              <a:ext uri="{FF2B5EF4-FFF2-40B4-BE49-F238E27FC236}">
                <a16:creationId xmlns:a16="http://schemas.microsoft.com/office/drawing/2014/main" id="{2789745E-7F6D-4955-82D5-4570BD67B8D6}"/>
              </a:ext>
            </a:extLst>
          </p:cNvPr>
          <p:cNvSpPr txBox="1"/>
          <p:nvPr/>
        </p:nvSpPr>
        <p:spPr>
          <a:xfrm>
            <a:off x="551072" y="897870"/>
            <a:ext cx="399870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50" b="1">
                <a:solidFill>
                  <a:srgbClr val="C00000"/>
                </a:solidFill>
                <a:latin typeface="Avenir" pitchFamily="50" charset="0"/>
              </a:defRPr>
            </a:lvl1pPr>
          </a:lstStyle>
          <a:p>
            <a:pPr algn="l"/>
            <a:r>
              <a:rPr lang="es-ES" sz="1000" dirty="0">
                <a:sym typeface="Wingdings" pitchFamily="2" charset="2"/>
              </a:rPr>
              <a:t>Swap 3-yr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5554648-C236-4C3F-9EC5-7C8E2A06900D}"/>
              </a:ext>
            </a:extLst>
          </p:cNvPr>
          <p:cNvSpPr/>
          <p:nvPr/>
        </p:nvSpPr>
        <p:spPr>
          <a:xfrm>
            <a:off x="706228" y="6524625"/>
            <a:ext cx="3736799" cy="1370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800" dirty="0">
                <a:solidFill>
                  <a:schemeClr val="tx1"/>
                </a:solidFill>
              </a:rPr>
              <a:t>Fuentes: Bloomberg; INE; Beka Finance</a:t>
            </a:r>
          </a:p>
        </p:txBody>
      </p:sp>
      <p:sp>
        <p:nvSpPr>
          <p:cNvPr id="441" name="CuadroTexto 12">
            <a:extLst>
              <a:ext uri="{FF2B5EF4-FFF2-40B4-BE49-F238E27FC236}">
                <a16:creationId xmlns:a16="http://schemas.microsoft.com/office/drawing/2014/main" id="{FD227573-BBE4-BC7B-AADA-8B51F4F6DF70}"/>
              </a:ext>
            </a:extLst>
          </p:cNvPr>
          <p:cNvSpPr txBox="1"/>
          <p:nvPr/>
        </p:nvSpPr>
        <p:spPr>
          <a:xfrm>
            <a:off x="550862" y="3590140"/>
            <a:ext cx="3998913" cy="25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50" b="1">
                <a:solidFill>
                  <a:srgbClr val="C00000"/>
                </a:solidFill>
                <a:latin typeface="Avenir" pitchFamily="50" charset="0"/>
              </a:defRPr>
            </a:lvl1pPr>
          </a:lstStyle>
          <a:p>
            <a:pPr algn="l"/>
            <a:r>
              <a:rPr lang="es-ES" sz="1000" dirty="0">
                <a:sym typeface="Wingdings" pitchFamily="2" charset="2"/>
              </a:rPr>
              <a:t>Swap 5-yr</a:t>
            </a:r>
          </a:p>
        </p:txBody>
      </p:sp>
      <p:cxnSp>
        <p:nvCxnSpPr>
          <p:cNvPr id="442" name="Conector recto 13">
            <a:extLst>
              <a:ext uri="{FF2B5EF4-FFF2-40B4-BE49-F238E27FC236}">
                <a16:creationId xmlns:a16="http://schemas.microsoft.com/office/drawing/2014/main" id="{09A73C24-57D5-BA3C-7459-F65BAB6A13D6}"/>
              </a:ext>
            </a:extLst>
          </p:cNvPr>
          <p:cNvCxnSpPr>
            <a:cxnSpLocks/>
          </p:cNvCxnSpPr>
          <p:nvPr/>
        </p:nvCxnSpPr>
        <p:spPr>
          <a:xfrm>
            <a:off x="358595" y="3838547"/>
            <a:ext cx="4084432" cy="0"/>
          </a:xfrm>
          <a:prstGeom prst="line">
            <a:avLst/>
          </a:prstGeom>
          <a:ln w="6350"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7" name="CuadroTexto 12">
            <a:extLst>
              <a:ext uri="{FF2B5EF4-FFF2-40B4-BE49-F238E27FC236}">
                <a16:creationId xmlns:a16="http://schemas.microsoft.com/office/drawing/2014/main" id="{7C0B0963-8890-AD01-55AE-9214F4A1163C}"/>
              </a:ext>
            </a:extLst>
          </p:cNvPr>
          <p:cNvSpPr txBox="1"/>
          <p:nvPr/>
        </p:nvSpPr>
        <p:spPr>
          <a:xfrm>
            <a:off x="5380078" y="874713"/>
            <a:ext cx="3998913" cy="25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50" b="1">
                <a:solidFill>
                  <a:srgbClr val="C00000"/>
                </a:solidFill>
                <a:latin typeface="Avenir" pitchFamily="50" charset="0"/>
              </a:defRPr>
            </a:lvl1pPr>
          </a:lstStyle>
          <a:p>
            <a:pPr algn="l"/>
            <a:r>
              <a:rPr lang="es-ES" sz="1000" dirty="0">
                <a:sym typeface="Wingdings" pitchFamily="2" charset="2"/>
              </a:rPr>
              <a:t>Euribor 6 meses</a:t>
            </a:r>
          </a:p>
        </p:txBody>
      </p:sp>
      <p:sp>
        <p:nvSpPr>
          <p:cNvPr id="221" name="CuadroTexto 12">
            <a:extLst>
              <a:ext uri="{FF2B5EF4-FFF2-40B4-BE49-F238E27FC236}">
                <a16:creationId xmlns:a16="http://schemas.microsoft.com/office/drawing/2014/main" id="{93D04750-1D86-0DDD-F952-D1179A90D3F7}"/>
              </a:ext>
            </a:extLst>
          </p:cNvPr>
          <p:cNvSpPr txBox="1"/>
          <p:nvPr/>
        </p:nvSpPr>
        <p:spPr>
          <a:xfrm>
            <a:off x="5388029" y="3587784"/>
            <a:ext cx="3998913" cy="25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50" b="1">
                <a:solidFill>
                  <a:srgbClr val="C00000"/>
                </a:solidFill>
                <a:latin typeface="Avenir" pitchFamily="50" charset="0"/>
              </a:defRPr>
            </a:lvl1pPr>
          </a:lstStyle>
          <a:p>
            <a:pPr algn="l"/>
            <a:r>
              <a:rPr lang="es-ES" sz="1000" dirty="0">
                <a:sym typeface="Wingdings" pitchFamily="2" charset="2"/>
              </a:rPr>
              <a:t>Euribor 12 meses</a:t>
            </a:r>
          </a:p>
        </p:txBody>
      </p:sp>
      <p:sp>
        <p:nvSpPr>
          <p:cNvPr id="657" name="Rectangle 656">
            <a:extLst>
              <a:ext uri="{FF2B5EF4-FFF2-40B4-BE49-F238E27FC236}">
                <a16:creationId xmlns:a16="http://schemas.microsoft.com/office/drawing/2014/main" id="{F90C6410-E3A2-9120-A820-E8D57667027C}"/>
              </a:ext>
            </a:extLst>
          </p:cNvPr>
          <p:cNvSpPr/>
          <p:nvPr/>
        </p:nvSpPr>
        <p:spPr>
          <a:xfrm>
            <a:off x="5328760" y="3998913"/>
            <a:ext cx="361317" cy="146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00" b="1" dirty="0">
              <a:solidFill>
                <a:sysClr val="windowText" lastClr="000000"/>
              </a:solidFill>
            </a:endParaRPr>
          </a:p>
        </p:txBody>
      </p:sp>
      <p:sp>
        <p:nvSpPr>
          <p:cNvPr id="156" name="Title 155">
            <a:extLst>
              <a:ext uri="{FF2B5EF4-FFF2-40B4-BE49-F238E27FC236}">
                <a16:creationId xmlns:a16="http://schemas.microsoft.com/office/drawing/2014/main" id="{243F2F49-27BD-066F-A0CC-4048B56A39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IPOS DE INTERÉS</a:t>
            </a:r>
          </a:p>
        </p:txBody>
      </p:sp>
      <p:cxnSp>
        <p:nvCxnSpPr>
          <p:cNvPr id="6" name="Conector recto 13">
            <a:extLst>
              <a:ext uri="{FF2B5EF4-FFF2-40B4-BE49-F238E27FC236}">
                <a16:creationId xmlns:a16="http://schemas.microsoft.com/office/drawing/2014/main" id="{3DA78DA5-A911-C44F-4AEC-D3A260B3DDE4}"/>
              </a:ext>
            </a:extLst>
          </p:cNvPr>
          <p:cNvCxnSpPr>
            <a:cxnSpLocks/>
          </p:cNvCxnSpPr>
          <p:nvPr/>
        </p:nvCxnSpPr>
        <p:spPr>
          <a:xfrm>
            <a:off x="358595" y="1129849"/>
            <a:ext cx="4084432" cy="0"/>
          </a:xfrm>
          <a:prstGeom prst="line">
            <a:avLst/>
          </a:prstGeom>
          <a:ln w="6350"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13">
            <a:extLst>
              <a:ext uri="{FF2B5EF4-FFF2-40B4-BE49-F238E27FC236}">
                <a16:creationId xmlns:a16="http://schemas.microsoft.com/office/drawing/2014/main" id="{35F2AF70-5A94-875A-7B25-36BC5041747D}"/>
              </a:ext>
            </a:extLst>
          </p:cNvPr>
          <p:cNvCxnSpPr>
            <a:cxnSpLocks/>
          </p:cNvCxnSpPr>
          <p:nvPr/>
        </p:nvCxnSpPr>
        <p:spPr>
          <a:xfrm>
            <a:off x="5274264" y="1123288"/>
            <a:ext cx="4215811" cy="0"/>
          </a:xfrm>
          <a:prstGeom prst="line">
            <a:avLst/>
          </a:prstGeom>
          <a:ln w="6350"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13">
            <a:extLst>
              <a:ext uri="{FF2B5EF4-FFF2-40B4-BE49-F238E27FC236}">
                <a16:creationId xmlns:a16="http://schemas.microsoft.com/office/drawing/2014/main" id="{CE0279FC-8458-21D2-D375-0F630F7A5C07}"/>
              </a:ext>
            </a:extLst>
          </p:cNvPr>
          <p:cNvCxnSpPr>
            <a:cxnSpLocks/>
          </p:cNvCxnSpPr>
          <p:nvPr/>
        </p:nvCxnSpPr>
        <p:spPr>
          <a:xfrm>
            <a:off x="5282653" y="3847812"/>
            <a:ext cx="4207422" cy="0"/>
          </a:xfrm>
          <a:prstGeom prst="line">
            <a:avLst/>
          </a:prstGeom>
          <a:ln w="6350"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58" name="Picture 657" descr="swap3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50292" y="1143000"/>
            <a:ext cx="5058000" cy="2412000"/>
          </a:xfrm>
          <a:prstGeom prst="rect">
            <a:avLst/>
          </a:prstGeom>
        </p:spPr>
      </p:pic>
      <p:pic>
        <p:nvPicPr>
          <p:cNvPr id="659" name="Picture 658" descr="swap5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53035" y="3886200"/>
            <a:ext cx="5058000" cy="2412000"/>
          </a:xfrm>
          <a:prstGeom prst="rect">
            <a:avLst/>
          </a:prstGeom>
        </p:spPr>
      </p:pic>
      <p:pic>
        <p:nvPicPr>
          <p:cNvPr id="660" name="Picture 659" descr="euribor6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37760" y="1143000"/>
            <a:ext cx="4870800" cy="2393999"/>
          </a:xfrm>
          <a:prstGeom prst="rect">
            <a:avLst/>
          </a:prstGeom>
        </p:spPr>
      </p:pic>
      <p:pic>
        <p:nvPicPr>
          <p:cNvPr id="661" name="Picture 660" descr="euribor12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37760" y="3886200"/>
            <a:ext cx="4870800" cy="2393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0650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>
            <a:extLst>
              <a:ext uri="{FF2B5EF4-FFF2-40B4-BE49-F238E27FC236}">
                <a16:creationId xmlns:a16="http://schemas.microsoft.com/office/drawing/2014/main" id="{CC756E0A-60F0-2AEA-E5B7-3567081A17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3792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1" name="Object 30" hidden="1">
                        <a:extLst>
                          <a:ext uri="{FF2B5EF4-FFF2-40B4-BE49-F238E27FC236}">
                            <a16:creationId xmlns:a16="http://schemas.microsoft.com/office/drawing/2014/main" id="{CC756E0A-60F0-2AEA-E5B7-3567081A17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30FF479-CC2E-CA07-BE0F-6A0D07423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ÍNDICE DE CRÉDITO Y VARIACIONES</a:t>
            </a:r>
          </a:p>
        </p:txBody>
      </p:sp>
      <p:sp>
        <p:nvSpPr>
          <p:cNvPr id="572" name="Rectangle 571">
            <a:extLst>
              <a:ext uri="{FF2B5EF4-FFF2-40B4-BE49-F238E27FC236}">
                <a16:creationId xmlns:a16="http://schemas.microsoft.com/office/drawing/2014/main" id="{206CF002-5120-0851-729B-7E20B7F2FA6E}"/>
              </a:ext>
            </a:extLst>
          </p:cNvPr>
          <p:cNvSpPr/>
          <p:nvPr/>
        </p:nvSpPr>
        <p:spPr>
          <a:xfrm>
            <a:off x="706228" y="6524625"/>
            <a:ext cx="3736799" cy="1370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800" dirty="0">
                <a:solidFill>
                  <a:schemeClr val="tx1"/>
                </a:solidFill>
              </a:rPr>
              <a:t>Fuentes: Bloomberg; INE; Beka Finance</a:t>
            </a:r>
          </a:p>
        </p:txBody>
      </p:sp>
      <p:sp>
        <p:nvSpPr>
          <p:cNvPr id="3" name="CuadroTexto 12">
            <a:extLst>
              <a:ext uri="{FF2B5EF4-FFF2-40B4-BE49-F238E27FC236}">
                <a16:creationId xmlns:a16="http://schemas.microsoft.com/office/drawing/2014/main" id="{2B916B0A-64EF-C9F3-FFB5-17042B8C3789}"/>
              </a:ext>
            </a:extLst>
          </p:cNvPr>
          <p:cNvSpPr txBox="1"/>
          <p:nvPr/>
        </p:nvSpPr>
        <p:spPr>
          <a:xfrm>
            <a:off x="551072" y="881092"/>
            <a:ext cx="39987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50" b="1">
                <a:solidFill>
                  <a:srgbClr val="C00000"/>
                </a:solidFill>
                <a:latin typeface="Avenir" pitchFamily="50" charset="0"/>
              </a:defRPr>
            </a:lvl1pPr>
          </a:lstStyle>
          <a:p>
            <a:pPr algn="l"/>
            <a:r>
              <a:rPr lang="en-GB" sz="1000" dirty="0" err="1">
                <a:sym typeface="Wingdings" pitchFamily="2" charset="2"/>
              </a:rPr>
              <a:t>Evolución</a:t>
            </a:r>
            <a:r>
              <a:rPr lang="en-GB" sz="1000" dirty="0">
                <a:sym typeface="Wingdings" pitchFamily="2" charset="2"/>
              </a:rPr>
              <a:t> del </a:t>
            </a:r>
            <a:r>
              <a:rPr lang="en-GB" sz="1000" dirty="0" err="1">
                <a:sym typeface="Wingdings" pitchFamily="2" charset="2"/>
              </a:rPr>
              <a:t>Itraxx</a:t>
            </a:r>
            <a:r>
              <a:rPr lang="en-GB" sz="1000" dirty="0">
                <a:sym typeface="Wingdings" pitchFamily="2" charset="2"/>
              </a:rPr>
              <a:t> Crossover Europe</a:t>
            </a:r>
          </a:p>
        </p:txBody>
      </p:sp>
      <p:cxnSp>
        <p:nvCxnSpPr>
          <p:cNvPr id="4" name="Conector recto 13">
            <a:extLst>
              <a:ext uri="{FF2B5EF4-FFF2-40B4-BE49-F238E27FC236}">
                <a16:creationId xmlns:a16="http://schemas.microsoft.com/office/drawing/2014/main" id="{2845528A-79B4-A8F7-3E9E-3A62A2EA3114}"/>
              </a:ext>
            </a:extLst>
          </p:cNvPr>
          <p:cNvCxnSpPr>
            <a:cxnSpLocks/>
          </p:cNvCxnSpPr>
          <p:nvPr/>
        </p:nvCxnSpPr>
        <p:spPr>
          <a:xfrm>
            <a:off x="366984" y="1121460"/>
            <a:ext cx="4076043" cy="5853"/>
          </a:xfrm>
          <a:prstGeom prst="line">
            <a:avLst/>
          </a:prstGeom>
          <a:ln w="6350"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CuadroTexto 12">
            <a:extLst>
              <a:ext uri="{FF2B5EF4-FFF2-40B4-BE49-F238E27FC236}">
                <a16:creationId xmlns:a16="http://schemas.microsoft.com/office/drawing/2014/main" id="{8E2F1CD9-256D-DDA4-EED6-DD2558CCEEAE}"/>
              </a:ext>
            </a:extLst>
          </p:cNvPr>
          <p:cNvSpPr txBox="1"/>
          <p:nvPr/>
        </p:nvSpPr>
        <p:spPr>
          <a:xfrm>
            <a:off x="5380078" y="874713"/>
            <a:ext cx="39989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50" b="1">
                <a:solidFill>
                  <a:srgbClr val="C00000"/>
                </a:solidFill>
                <a:latin typeface="Avenir" pitchFamily="50" charset="0"/>
              </a:defRPr>
            </a:lvl1pPr>
          </a:lstStyle>
          <a:p>
            <a:pPr algn="l"/>
            <a:r>
              <a:rPr lang="es-ES" sz="1000" dirty="0">
                <a:sym typeface="Wingdings" pitchFamily="2" charset="2"/>
              </a:rPr>
              <a:t>Variación</a:t>
            </a:r>
          </a:p>
        </p:txBody>
      </p:sp>
      <p:cxnSp>
        <p:nvCxnSpPr>
          <p:cNvPr id="6" name="Conector recto 13">
            <a:extLst>
              <a:ext uri="{FF2B5EF4-FFF2-40B4-BE49-F238E27FC236}">
                <a16:creationId xmlns:a16="http://schemas.microsoft.com/office/drawing/2014/main" id="{A557DE03-0AAB-C9BC-4421-A7F12496C994}"/>
              </a:ext>
            </a:extLst>
          </p:cNvPr>
          <p:cNvCxnSpPr>
            <a:cxnSpLocks/>
          </p:cNvCxnSpPr>
          <p:nvPr/>
        </p:nvCxnSpPr>
        <p:spPr>
          <a:xfrm>
            <a:off x="5299431" y="1123288"/>
            <a:ext cx="4190644" cy="4025"/>
          </a:xfrm>
          <a:prstGeom prst="line">
            <a:avLst/>
          </a:prstGeom>
          <a:ln w="6350"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73" name="Picture 572" descr="itraxx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50292" y="1143000"/>
            <a:ext cx="5133599" cy="2462399"/>
          </a:xfrm>
          <a:prstGeom prst="rect">
            <a:avLst/>
          </a:prstGeom>
        </p:spPr>
      </p:pic>
      <p:pic>
        <p:nvPicPr>
          <p:cNvPr id="574" name="Picture 573" descr="variaciones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9200" y="1143000"/>
            <a:ext cx="4114800" cy="2393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1292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5B333BE-1545-0D73-46F4-F83FC877E4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887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5B333BE-1545-0D73-46F4-F83FC877E4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34293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m/%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m/%y&lt;/m_strFormatTime&gt;&lt;m_yearfmt&gt;&lt;begin val=&quot;4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1.81000000000000005329E+00&quot;&gt;&lt;m_msothmcolidx val=&quot;0&quot;/&gt;&lt;m_rgb r=&quot;7F&quot; g=&quot;7F&quot; b=&quot;7F&quot;/&gt;&lt;/elem&gt;&lt;elem m_fUsage=&quot;9.00000000000000022204E-01&quot;&gt;&lt;m_msothmcolidx val=&quot;0&quot;/&gt;&lt;m_rgb r=&quot;C0&quot; g=&quot;00&quot; b=&quot;00&quot;/&gt;&lt;/elem&gt;&lt;elem m_fUsage=&quot;7.29000000000000092371E-01&quot;&gt;&lt;m_msothmcolidx val=&quot;0&quot;/&gt;&lt;m_rgb r=&quot;95&quot; g=&quot;95&quot; b=&quot;95&quot;/&gt;&lt;/elem&gt;&lt;elem m_fUsage=&quot;6.56100000000000127542E-01&quot;&gt;&lt;m_msothmcolidx val=&quot;0&quot;/&gt;&lt;m_rgb r=&quot;A2&quot; g=&quot;A2&quot; b=&quot;A2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ipm1UE7yQogNeHwXOf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Atkm6Ei0TO9OYrdfVH5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aYZ76u1hnChl0vNFZT2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m7THcRK8zUjBSN5lcU3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RKKAcZjs.toVB17xhd8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yyRm53cmZq3pUC57PC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ZsLMXPGJQO0Iap4a0nX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UdVoc6sJlfplsAoX9K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zF9ADkQr6Ud3TW1bzBh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qHZ8YhR66hiIrc0Bta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.VimK_rjWFuMEhzsPEa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hw7Pd.Rd59rDfolN2Q9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bDY0JyPvv4eEVgQMqk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iMjTQxz3dToiC043StD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1IVWghFaWjq_DdhXAPb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HLm_VJzCg5K6UbBEYiB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RYY8AKi.iuuyRtVZ0m1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3zJtiPsIKXHgFFWIVA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343.TGcC5icauT1gYj.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ggDJZ3expaMSG8be62h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ie5CtWqADV4V_NWAdgM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PZismIAwuNhuME0fgG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1jG8sk_3azawqjdWwmV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XvdeoMhoxZt28lC8JaM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7L.t22j7gejNqxz50H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09veuD6FTzf0HrMOLt5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q8BKZAFJQFtGDuJXL9f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M3KHrIZRpZe_TWEwnh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.PZ003DhFbutCsZxDiM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UHJUvU2qFJwVDxFkE2S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p19S36qMDW.WYyizMVY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cEZB9vQ6vJOded3any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axrELiemM5Ax_snkhS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w9CWzdu5MSensn7pDcT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LrQmhbdNksYkOP..v0v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Vw0rjKGC5rCnZOuUC6p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_2kBkufDSGFfhgZUKVa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o6WcudoEP3bE4Wc7o7_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IY.hi.i_exwblrqdYeL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5L2psITZW.79ykm_Hvs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gJP1QlQq.yOKcICzGiU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IvsDVCTypc64Ao2oTw1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8fVmDJHNGPWUPUUdyEZ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DmnuDknwRWjYOzCd.Pc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R.xdzyIAn2uLjpgs8yk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C5G6BRRjrgUi7ZHrXQe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pddlbD92IVIqQpgNDO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YEe0AIMhl4tCSThQ8A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yjF8uSHMm0GOLtEwUNU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xj7wMS4rvVT40GfhjQB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Va2AdQTJYOH_3rjVzZN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4X3bxgnM.7dK_I9UCuJ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PnX.iqT6KP6z.ZjEaPk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Fw3OPBI744Gi6qPNcQQ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uKIwG3aBd.Uxy8PlTEg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jpmTGoKxwQ8ueARVlVQ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3GESg0QFUjmAAqJr2x7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gZ6rwGB5kKrNZV5CUm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Escala de grises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Tema d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de Office">
  <a:themeElements>
    <a:clrScheme name="Escala de grises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Tema d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f8c6b40c-90a2-4646-81ef-3b770b040cf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AE814DB09C2241B0B3B61F0C487BEB" ma:contentTypeVersion="15" ma:contentTypeDescription="Create a new document." ma:contentTypeScope="" ma:versionID="3193246a76b00af13aac4446eb59f595">
  <xsd:schema xmlns:xsd="http://www.w3.org/2001/XMLSchema" xmlns:xs="http://www.w3.org/2001/XMLSchema" xmlns:p="http://schemas.microsoft.com/office/2006/metadata/properties" xmlns:ns3="f10aa7de-6363-4e84-a4c0-68b7e5f01b5b" xmlns:ns4="f8c6b40c-90a2-4646-81ef-3b770b040cf4" targetNamespace="http://schemas.microsoft.com/office/2006/metadata/properties" ma:root="true" ma:fieldsID="47c6501e55c88c22f1ad55ba1ce22ee1" ns3:_="" ns4:_="">
    <xsd:import namespace="f10aa7de-6363-4e84-a4c0-68b7e5f01b5b"/>
    <xsd:import namespace="f8c6b40c-90a2-4646-81ef-3b770b040cf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LengthInSeconds" minOccurs="0"/>
                <xsd:element ref="ns4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0aa7de-6363-4e84-a4c0-68b7e5f01b5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c6b40c-90a2-4646-81ef-3b770b040cf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B1AF76A-D238-4E6B-ACBC-10D3FE3CDB0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2FBA0A2-53E9-4A72-9062-A8C53BF9F53B}">
  <ds:schemaRefs>
    <ds:schemaRef ds:uri="http://purl.org/dc/terms/"/>
    <ds:schemaRef ds:uri="http://schemas.microsoft.com/office/2006/metadata/properties"/>
    <ds:schemaRef ds:uri="f10aa7de-6363-4e84-a4c0-68b7e5f01b5b"/>
    <ds:schemaRef ds:uri="f8c6b40c-90a2-4646-81ef-3b770b040cf4"/>
    <ds:schemaRef ds:uri="http://schemas.microsoft.com/office/infopath/2007/PartnerControls"/>
    <ds:schemaRef ds:uri="http://purl.org/dc/dcmitype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BED2B07-32CE-4133-B61A-78DFFB5533A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10aa7de-6363-4e84-a4c0-68b7e5f01b5b"/>
    <ds:schemaRef ds:uri="f8c6b40c-90a2-4646-81ef-3b770b040cf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838</TotalTime>
  <Words>133</Words>
  <Application>Microsoft Office PowerPoint</Application>
  <PresentationFormat>A4 Paper (210x297 mm)</PresentationFormat>
  <Paragraphs>75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Avenir</vt:lpstr>
      <vt:lpstr>Calibri</vt:lpstr>
      <vt:lpstr>Calibri Light</vt:lpstr>
      <vt:lpstr>Tema de Office</vt:lpstr>
      <vt:lpstr>1_Tema de Office</vt:lpstr>
      <vt:lpstr>think-cell Slide</vt:lpstr>
      <vt:lpstr>PowerPoint Presentation</vt:lpstr>
      <vt:lpstr>BONOS SOBERANOS</vt:lpstr>
      <vt:lpstr>TIPOS DE INTERÉS</vt:lpstr>
      <vt:lpstr>ÍNDICE DE CRÉDITO Y VARIACION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Karen Behr - Beka Finance</dc:creator>
  <cp:lastModifiedBy>Javier</cp:lastModifiedBy>
  <cp:revision>38</cp:revision>
  <cp:lastPrinted>2022-06-02T09:52:45Z</cp:lastPrinted>
  <dcterms:created xsi:type="dcterms:W3CDTF">2020-03-19T17:13:15Z</dcterms:created>
  <dcterms:modified xsi:type="dcterms:W3CDTF">2023-08-04T11:34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AE814DB09C2241B0B3B61F0C487BEB</vt:lpwstr>
  </property>
</Properties>
</file>